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.xml" ContentType="application/inkml+xml"/>
  <Override PartName="/ppt/notesSlides/notesSlide7.xml" ContentType="application/vnd.openxmlformats-officedocument.presentationml.notesSlide+xml"/>
  <Override PartName="/ppt/ink/ink2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ink/ink3.xml" ContentType="application/inkml+xml"/>
  <Override PartName="/ppt/ink/ink4.xml" ContentType="application/inkml+xml"/>
  <Override PartName="/ppt/ink/ink5.xml" ContentType="application/inkml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ink/ink6.xml" ContentType="application/inkml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  <p:sldMasterId id="2147483676" r:id="rId8"/>
    <p:sldMasterId id="2147483695" r:id="rId9"/>
    <p:sldMasterId id="2147483752" r:id="rId10"/>
  </p:sldMasterIdLst>
  <p:notesMasterIdLst>
    <p:notesMasterId r:id="rId39"/>
  </p:notesMasterIdLst>
  <p:sldIdLst>
    <p:sldId id="675" r:id="rId11"/>
    <p:sldId id="793" r:id="rId12"/>
    <p:sldId id="2008" r:id="rId13"/>
    <p:sldId id="800" r:id="rId14"/>
    <p:sldId id="848" r:id="rId15"/>
    <p:sldId id="751" r:id="rId16"/>
    <p:sldId id="2010" r:id="rId17"/>
    <p:sldId id="2011" r:id="rId18"/>
    <p:sldId id="2009" r:id="rId19"/>
    <p:sldId id="2013" r:id="rId20"/>
    <p:sldId id="2012" r:id="rId21"/>
    <p:sldId id="830" r:id="rId22"/>
    <p:sldId id="1990" r:id="rId23"/>
    <p:sldId id="2014" r:id="rId24"/>
    <p:sldId id="2015" r:id="rId25"/>
    <p:sldId id="2016" r:id="rId26"/>
    <p:sldId id="2017" r:id="rId27"/>
    <p:sldId id="2018" r:id="rId28"/>
    <p:sldId id="2019" r:id="rId29"/>
    <p:sldId id="2020" r:id="rId30"/>
    <p:sldId id="2021" r:id="rId31"/>
    <p:sldId id="2022" r:id="rId32"/>
    <p:sldId id="2023" r:id="rId33"/>
    <p:sldId id="2024" r:id="rId34"/>
    <p:sldId id="2025" r:id="rId35"/>
    <p:sldId id="2026" r:id="rId36"/>
    <p:sldId id="1999" r:id="rId37"/>
    <p:sldId id="2007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33" y="2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4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16981B-DFAF-4096-86CB-F987A61B2CF5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D010E28-3101-40BF-B510-A40578A4E57E}">
      <dgm:prSet phldrT="[Text]"/>
      <dgm:spPr/>
      <dgm:t>
        <a:bodyPr/>
        <a:lstStyle/>
        <a:p>
          <a:r>
            <a:rPr lang="en-US" dirty="0"/>
            <a:t>Fit an ML Model using Apache Spark </a:t>
          </a:r>
          <a:r>
            <a:rPr lang="en-US" dirty="0" err="1"/>
            <a:t>MLLib</a:t>
          </a:r>
          <a:endParaRPr lang="en-US" dirty="0"/>
        </a:p>
      </dgm:t>
    </dgm:pt>
    <dgm:pt modelId="{64AF5DC4-0A88-46F1-8FDD-0CDF085D5E50}" type="parTrans" cxnId="{BED54780-84DD-4921-ABB7-7F2A2C1EC5C4}">
      <dgm:prSet/>
      <dgm:spPr/>
      <dgm:t>
        <a:bodyPr/>
        <a:lstStyle/>
        <a:p>
          <a:endParaRPr lang="en-US"/>
        </a:p>
      </dgm:t>
    </dgm:pt>
    <dgm:pt modelId="{4BCA5859-449E-45B9-8951-6E4D195686DC}" type="sibTrans" cxnId="{BED54780-84DD-4921-ABB7-7F2A2C1EC5C4}">
      <dgm:prSet/>
      <dgm:spPr/>
      <dgm:t>
        <a:bodyPr/>
        <a:lstStyle/>
        <a:p>
          <a:endParaRPr lang="en-US"/>
        </a:p>
      </dgm:t>
    </dgm:pt>
    <dgm:pt modelId="{2F2F2AAB-7A25-4FAB-970B-0A0E6016B849}">
      <dgm:prSet phldrT="[Text]"/>
      <dgm:spPr/>
      <dgm:t>
        <a:bodyPr/>
        <a:lstStyle/>
        <a:p>
          <a:r>
            <a:rPr lang="en-US" dirty="0"/>
            <a:t>Export the Model into HDFS/Azure Blob Store</a:t>
          </a:r>
        </a:p>
      </dgm:t>
    </dgm:pt>
    <dgm:pt modelId="{ADE1BBCE-D23F-4A71-A98A-AF0F379D4BCF}" type="parTrans" cxnId="{25DCF9A9-B0C4-4212-A06B-A0350F1242B7}">
      <dgm:prSet/>
      <dgm:spPr/>
      <dgm:t>
        <a:bodyPr/>
        <a:lstStyle/>
        <a:p>
          <a:endParaRPr lang="en-US"/>
        </a:p>
      </dgm:t>
    </dgm:pt>
    <dgm:pt modelId="{B5F8E466-2240-4445-91B9-3C18F8CB9B00}" type="sibTrans" cxnId="{25DCF9A9-B0C4-4212-A06B-A0350F1242B7}">
      <dgm:prSet/>
      <dgm:spPr/>
      <dgm:t>
        <a:bodyPr/>
        <a:lstStyle/>
        <a:p>
          <a:endParaRPr lang="en-US"/>
        </a:p>
      </dgm:t>
    </dgm:pt>
    <dgm:pt modelId="{85E7DAE2-0F00-4825-9E00-EACD8ED9F9FA}">
      <dgm:prSet phldrT="[Text]"/>
      <dgm:spPr/>
      <dgm:t>
        <a:bodyPr/>
        <a:lstStyle/>
        <a:p>
          <a:r>
            <a:rPr lang="en-US" dirty="0"/>
            <a:t>Import the model into an external system</a:t>
          </a:r>
        </a:p>
      </dgm:t>
    </dgm:pt>
    <dgm:pt modelId="{EA4F441D-5E5D-463D-BE23-5F6C2105D3F1}" type="parTrans" cxnId="{0D9E0B3D-1CD7-4D66-AFF5-EF57110C0039}">
      <dgm:prSet/>
      <dgm:spPr/>
      <dgm:t>
        <a:bodyPr/>
        <a:lstStyle/>
        <a:p>
          <a:endParaRPr lang="en-US"/>
        </a:p>
      </dgm:t>
    </dgm:pt>
    <dgm:pt modelId="{BFA1D256-0786-4E34-8690-82119CC82709}" type="sibTrans" cxnId="{0D9E0B3D-1CD7-4D66-AFF5-EF57110C0039}">
      <dgm:prSet/>
      <dgm:spPr/>
      <dgm:t>
        <a:bodyPr/>
        <a:lstStyle/>
        <a:p>
          <a:endParaRPr lang="en-US"/>
        </a:p>
      </dgm:t>
    </dgm:pt>
    <dgm:pt modelId="{210B798F-4B76-4EB6-A03C-D08F39FD0701}" type="pres">
      <dgm:prSet presAssocID="{C116981B-DFAF-4096-86CB-F987A61B2CF5}" presName="rootnode" presStyleCnt="0">
        <dgm:presLayoutVars>
          <dgm:chMax/>
          <dgm:chPref/>
          <dgm:dir/>
          <dgm:animLvl val="lvl"/>
        </dgm:presLayoutVars>
      </dgm:prSet>
      <dgm:spPr/>
    </dgm:pt>
    <dgm:pt modelId="{994DBF3E-4EC4-43A5-A077-9520A2BB5BFA}" type="pres">
      <dgm:prSet presAssocID="{2D010E28-3101-40BF-B510-A40578A4E57E}" presName="composite" presStyleCnt="0"/>
      <dgm:spPr/>
    </dgm:pt>
    <dgm:pt modelId="{9F6488C3-C861-4620-8D23-8A89266FAB09}" type="pres">
      <dgm:prSet presAssocID="{2D010E28-3101-40BF-B510-A40578A4E57E}" presName="LShape" presStyleLbl="alignNode1" presStyleIdx="0" presStyleCnt="5"/>
      <dgm:spPr/>
    </dgm:pt>
    <dgm:pt modelId="{884CDCC3-5ED8-4550-A57E-EC69C32A9AA0}" type="pres">
      <dgm:prSet presAssocID="{2D010E28-3101-40BF-B510-A40578A4E57E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3EB96D79-79B2-4621-A4B9-E00920A234A1}" type="pres">
      <dgm:prSet presAssocID="{2D010E28-3101-40BF-B510-A40578A4E57E}" presName="Triangle" presStyleLbl="alignNode1" presStyleIdx="1" presStyleCnt="5"/>
      <dgm:spPr/>
    </dgm:pt>
    <dgm:pt modelId="{0F1D0B1E-AA60-4821-8169-DBB8CB8B43B4}" type="pres">
      <dgm:prSet presAssocID="{4BCA5859-449E-45B9-8951-6E4D195686DC}" presName="sibTrans" presStyleCnt="0"/>
      <dgm:spPr/>
    </dgm:pt>
    <dgm:pt modelId="{45256DA2-2B9F-4935-BB1B-B72B506669F3}" type="pres">
      <dgm:prSet presAssocID="{4BCA5859-449E-45B9-8951-6E4D195686DC}" presName="space" presStyleCnt="0"/>
      <dgm:spPr/>
    </dgm:pt>
    <dgm:pt modelId="{7ABEB6F0-1AFE-4E8D-8169-C759CC705AEB}" type="pres">
      <dgm:prSet presAssocID="{2F2F2AAB-7A25-4FAB-970B-0A0E6016B849}" presName="composite" presStyleCnt="0"/>
      <dgm:spPr/>
    </dgm:pt>
    <dgm:pt modelId="{1D31A1F3-FE9E-47B8-B42D-086C30D17A3F}" type="pres">
      <dgm:prSet presAssocID="{2F2F2AAB-7A25-4FAB-970B-0A0E6016B849}" presName="LShape" presStyleLbl="alignNode1" presStyleIdx="2" presStyleCnt="5"/>
      <dgm:spPr/>
    </dgm:pt>
    <dgm:pt modelId="{D813E69A-776D-4DF4-B73D-FF360F2B40F0}" type="pres">
      <dgm:prSet presAssocID="{2F2F2AAB-7A25-4FAB-970B-0A0E6016B849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8A155065-AC23-48CB-B0A5-7AD29A4B6465}" type="pres">
      <dgm:prSet presAssocID="{2F2F2AAB-7A25-4FAB-970B-0A0E6016B849}" presName="Triangle" presStyleLbl="alignNode1" presStyleIdx="3" presStyleCnt="5"/>
      <dgm:spPr/>
    </dgm:pt>
    <dgm:pt modelId="{A0F7B6D3-AE15-46FE-B443-DD8EF1F14318}" type="pres">
      <dgm:prSet presAssocID="{B5F8E466-2240-4445-91B9-3C18F8CB9B00}" presName="sibTrans" presStyleCnt="0"/>
      <dgm:spPr/>
    </dgm:pt>
    <dgm:pt modelId="{4D9C5812-A864-48FE-9097-494008357E8E}" type="pres">
      <dgm:prSet presAssocID="{B5F8E466-2240-4445-91B9-3C18F8CB9B00}" presName="space" presStyleCnt="0"/>
      <dgm:spPr/>
    </dgm:pt>
    <dgm:pt modelId="{0A5A9B89-BB4F-4413-AD4A-309B2828AB06}" type="pres">
      <dgm:prSet presAssocID="{85E7DAE2-0F00-4825-9E00-EACD8ED9F9FA}" presName="composite" presStyleCnt="0"/>
      <dgm:spPr/>
    </dgm:pt>
    <dgm:pt modelId="{79394891-8EC5-45BC-966C-2C6B31BC0494}" type="pres">
      <dgm:prSet presAssocID="{85E7DAE2-0F00-4825-9E00-EACD8ED9F9FA}" presName="LShape" presStyleLbl="alignNode1" presStyleIdx="4" presStyleCnt="5"/>
      <dgm:spPr/>
    </dgm:pt>
    <dgm:pt modelId="{6559EE5A-4981-4437-9F0A-AB745364E797}" type="pres">
      <dgm:prSet presAssocID="{85E7DAE2-0F00-4825-9E00-EACD8ED9F9FA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31580405-02B6-4A02-B454-1CB714A58538}" type="presOf" srcId="{85E7DAE2-0F00-4825-9E00-EACD8ED9F9FA}" destId="{6559EE5A-4981-4437-9F0A-AB745364E797}" srcOrd="0" destOrd="0" presId="urn:microsoft.com/office/officeart/2009/3/layout/StepUpProcess"/>
    <dgm:cxn modelId="{0D9E0B3D-1CD7-4D66-AFF5-EF57110C0039}" srcId="{C116981B-DFAF-4096-86CB-F987A61B2CF5}" destId="{85E7DAE2-0F00-4825-9E00-EACD8ED9F9FA}" srcOrd="2" destOrd="0" parTransId="{EA4F441D-5E5D-463D-BE23-5F6C2105D3F1}" sibTransId="{BFA1D256-0786-4E34-8690-82119CC82709}"/>
    <dgm:cxn modelId="{9DD3C86C-1EE9-4454-B301-8997C029A6AB}" type="presOf" srcId="{C116981B-DFAF-4096-86CB-F987A61B2CF5}" destId="{210B798F-4B76-4EB6-A03C-D08F39FD0701}" srcOrd="0" destOrd="0" presId="urn:microsoft.com/office/officeart/2009/3/layout/StepUpProcess"/>
    <dgm:cxn modelId="{BED54780-84DD-4921-ABB7-7F2A2C1EC5C4}" srcId="{C116981B-DFAF-4096-86CB-F987A61B2CF5}" destId="{2D010E28-3101-40BF-B510-A40578A4E57E}" srcOrd="0" destOrd="0" parTransId="{64AF5DC4-0A88-46F1-8FDD-0CDF085D5E50}" sibTransId="{4BCA5859-449E-45B9-8951-6E4D195686DC}"/>
    <dgm:cxn modelId="{25DCF9A9-B0C4-4212-A06B-A0350F1242B7}" srcId="{C116981B-DFAF-4096-86CB-F987A61B2CF5}" destId="{2F2F2AAB-7A25-4FAB-970B-0A0E6016B849}" srcOrd="1" destOrd="0" parTransId="{ADE1BBCE-D23F-4A71-A98A-AF0F379D4BCF}" sibTransId="{B5F8E466-2240-4445-91B9-3C18F8CB9B00}"/>
    <dgm:cxn modelId="{6C8C9EB2-A4E0-4C19-8B50-573FD4F3ABA3}" type="presOf" srcId="{2D010E28-3101-40BF-B510-A40578A4E57E}" destId="{884CDCC3-5ED8-4550-A57E-EC69C32A9AA0}" srcOrd="0" destOrd="0" presId="urn:microsoft.com/office/officeart/2009/3/layout/StepUpProcess"/>
    <dgm:cxn modelId="{BF235DB7-0001-4008-86D3-5D66E46F6324}" type="presOf" srcId="{2F2F2AAB-7A25-4FAB-970B-0A0E6016B849}" destId="{D813E69A-776D-4DF4-B73D-FF360F2B40F0}" srcOrd="0" destOrd="0" presId="urn:microsoft.com/office/officeart/2009/3/layout/StepUpProcess"/>
    <dgm:cxn modelId="{10B8B599-4BC0-4180-885B-9ADED8FFD444}" type="presParOf" srcId="{210B798F-4B76-4EB6-A03C-D08F39FD0701}" destId="{994DBF3E-4EC4-43A5-A077-9520A2BB5BFA}" srcOrd="0" destOrd="0" presId="urn:microsoft.com/office/officeart/2009/3/layout/StepUpProcess"/>
    <dgm:cxn modelId="{6EFF738E-4B1D-41D3-B33F-FBDA902CFF56}" type="presParOf" srcId="{994DBF3E-4EC4-43A5-A077-9520A2BB5BFA}" destId="{9F6488C3-C861-4620-8D23-8A89266FAB09}" srcOrd="0" destOrd="0" presId="urn:microsoft.com/office/officeart/2009/3/layout/StepUpProcess"/>
    <dgm:cxn modelId="{406E2C4C-C791-4ED6-8D0C-385CF6894F98}" type="presParOf" srcId="{994DBF3E-4EC4-43A5-A077-9520A2BB5BFA}" destId="{884CDCC3-5ED8-4550-A57E-EC69C32A9AA0}" srcOrd="1" destOrd="0" presId="urn:microsoft.com/office/officeart/2009/3/layout/StepUpProcess"/>
    <dgm:cxn modelId="{8318FDFB-F026-4F85-9A81-DD2CB920075F}" type="presParOf" srcId="{994DBF3E-4EC4-43A5-A077-9520A2BB5BFA}" destId="{3EB96D79-79B2-4621-A4B9-E00920A234A1}" srcOrd="2" destOrd="0" presId="urn:microsoft.com/office/officeart/2009/3/layout/StepUpProcess"/>
    <dgm:cxn modelId="{5D418023-4B4B-4AEA-97F7-BBB685B5FA22}" type="presParOf" srcId="{210B798F-4B76-4EB6-A03C-D08F39FD0701}" destId="{0F1D0B1E-AA60-4821-8169-DBB8CB8B43B4}" srcOrd="1" destOrd="0" presId="urn:microsoft.com/office/officeart/2009/3/layout/StepUpProcess"/>
    <dgm:cxn modelId="{48E486FC-248F-4F48-A3AA-6ADE8A118DBD}" type="presParOf" srcId="{0F1D0B1E-AA60-4821-8169-DBB8CB8B43B4}" destId="{45256DA2-2B9F-4935-BB1B-B72B506669F3}" srcOrd="0" destOrd="0" presId="urn:microsoft.com/office/officeart/2009/3/layout/StepUpProcess"/>
    <dgm:cxn modelId="{00FAD719-C488-4F20-BA62-7D37A66E838E}" type="presParOf" srcId="{210B798F-4B76-4EB6-A03C-D08F39FD0701}" destId="{7ABEB6F0-1AFE-4E8D-8169-C759CC705AEB}" srcOrd="2" destOrd="0" presId="urn:microsoft.com/office/officeart/2009/3/layout/StepUpProcess"/>
    <dgm:cxn modelId="{B268DB4A-4F00-419F-97DE-52E1E008609D}" type="presParOf" srcId="{7ABEB6F0-1AFE-4E8D-8169-C759CC705AEB}" destId="{1D31A1F3-FE9E-47B8-B42D-086C30D17A3F}" srcOrd="0" destOrd="0" presId="urn:microsoft.com/office/officeart/2009/3/layout/StepUpProcess"/>
    <dgm:cxn modelId="{8F81C99C-E64D-40C5-9ED0-AADBD068E5EE}" type="presParOf" srcId="{7ABEB6F0-1AFE-4E8D-8169-C759CC705AEB}" destId="{D813E69A-776D-4DF4-B73D-FF360F2B40F0}" srcOrd="1" destOrd="0" presId="urn:microsoft.com/office/officeart/2009/3/layout/StepUpProcess"/>
    <dgm:cxn modelId="{990B01A4-D4D7-49D3-B754-4A1E7EEB5162}" type="presParOf" srcId="{7ABEB6F0-1AFE-4E8D-8169-C759CC705AEB}" destId="{8A155065-AC23-48CB-B0A5-7AD29A4B6465}" srcOrd="2" destOrd="0" presId="urn:microsoft.com/office/officeart/2009/3/layout/StepUpProcess"/>
    <dgm:cxn modelId="{33479698-7373-423E-A112-31531B53F937}" type="presParOf" srcId="{210B798F-4B76-4EB6-A03C-D08F39FD0701}" destId="{A0F7B6D3-AE15-46FE-B443-DD8EF1F14318}" srcOrd="3" destOrd="0" presId="urn:microsoft.com/office/officeart/2009/3/layout/StepUpProcess"/>
    <dgm:cxn modelId="{7EF61F9D-82E1-4F22-A032-A753058E6A1A}" type="presParOf" srcId="{A0F7B6D3-AE15-46FE-B443-DD8EF1F14318}" destId="{4D9C5812-A864-48FE-9097-494008357E8E}" srcOrd="0" destOrd="0" presId="urn:microsoft.com/office/officeart/2009/3/layout/StepUpProcess"/>
    <dgm:cxn modelId="{1B39DCFF-0EC0-47A4-90CA-12260DAA84BA}" type="presParOf" srcId="{210B798F-4B76-4EB6-A03C-D08F39FD0701}" destId="{0A5A9B89-BB4F-4413-AD4A-309B2828AB06}" srcOrd="4" destOrd="0" presId="urn:microsoft.com/office/officeart/2009/3/layout/StepUpProcess"/>
    <dgm:cxn modelId="{44F25877-CB81-4A5B-B19F-8E8A00A7604C}" type="presParOf" srcId="{0A5A9B89-BB4F-4413-AD4A-309B2828AB06}" destId="{79394891-8EC5-45BC-966C-2C6B31BC0494}" srcOrd="0" destOrd="0" presId="urn:microsoft.com/office/officeart/2009/3/layout/StepUpProcess"/>
    <dgm:cxn modelId="{F9A67D32-C604-4C70-AF6D-60299314AFE0}" type="presParOf" srcId="{0A5A9B89-BB4F-4413-AD4A-309B2828AB06}" destId="{6559EE5A-4981-4437-9F0A-AB745364E797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E5EFF1-2816-463F-ABC5-B534C2AB314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5A6A5E1-7DBB-4229-B076-7339F8CBCF13}">
      <dgm:prSet phldrT="[Text]"/>
      <dgm:spPr/>
      <dgm:t>
        <a:bodyPr/>
        <a:lstStyle/>
        <a:p>
          <a:r>
            <a:rPr lang="en-US" dirty="0" err="1"/>
            <a:t>MLeap</a:t>
          </a:r>
          <a:endParaRPr lang="en-US" dirty="0"/>
        </a:p>
      </dgm:t>
    </dgm:pt>
    <dgm:pt modelId="{341283BA-FEA3-4115-973D-EAA8C6BC671F}" type="parTrans" cxnId="{86E3D9C0-4842-4AEA-A167-DD5AD89E7068}">
      <dgm:prSet/>
      <dgm:spPr/>
      <dgm:t>
        <a:bodyPr/>
        <a:lstStyle/>
        <a:p>
          <a:endParaRPr lang="en-US"/>
        </a:p>
      </dgm:t>
    </dgm:pt>
    <dgm:pt modelId="{67B9F541-D100-448A-989E-5039D3141E50}" type="sibTrans" cxnId="{86E3D9C0-4842-4AEA-A167-DD5AD89E7068}">
      <dgm:prSet/>
      <dgm:spPr/>
      <dgm:t>
        <a:bodyPr/>
        <a:lstStyle/>
        <a:p>
          <a:endParaRPr lang="en-US"/>
        </a:p>
      </dgm:t>
    </dgm:pt>
    <dgm:pt modelId="{BF7C556C-B3E2-4AA9-A7D1-28553CCC58E7}">
      <dgm:prSet phldrT="[Text]"/>
      <dgm:spPr/>
      <dgm:t>
        <a:bodyPr/>
        <a:lstStyle/>
        <a:p>
          <a:r>
            <a:rPr lang="en-US" dirty="0"/>
            <a:t>Open sourced, Easily reuse models with serialization and executing without Spark Dependency.</a:t>
          </a:r>
        </a:p>
      </dgm:t>
    </dgm:pt>
    <dgm:pt modelId="{57980E2F-CDBF-43AA-9EDE-4DBCFEBC861D}" type="parTrans" cxnId="{34E29222-03B8-4D79-93DC-D1328933C9CF}">
      <dgm:prSet/>
      <dgm:spPr/>
      <dgm:t>
        <a:bodyPr/>
        <a:lstStyle/>
        <a:p>
          <a:endParaRPr lang="en-US"/>
        </a:p>
      </dgm:t>
    </dgm:pt>
    <dgm:pt modelId="{34E670D3-1531-493A-9846-7034388B57C3}" type="sibTrans" cxnId="{34E29222-03B8-4D79-93DC-D1328933C9CF}">
      <dgm:prSet/>
      <dgm:spPr/>
      <dgm:t>
        <a:bodyPr/>
        <a:lstStyle/>
        <a:p>
          <a:endParaRPr lang="en-US"/>
        </a:p>
      </dgm:t>
    </dgm:pt>
    <dgm:pt modelId="{D985C6D9-B3FE-437B-9267-FC0CB82CE930}">
      <dgm:prSet phldrT="[Text]"/>
      <dgm:spPr/>
      <dgm:t>
        <a:bodyPr/>
        <a:lstStyle/>
        <a:p>
          <a:r>
            <a:rPr lang="en-US" dirty="0"/>
            <a:t>Databricks ML Model Export</a:t>
          </a:r>
        </a:p>
      </dgm:t>
    </dgm:pt>
    <dgm:pt modelId="{04739EE2-800D-4BA7-9793-784D47495845}" type="parTrans" cxnId="{3B7ABBCD-8F29-4F5B-8789-67896450B45F}">
      <dgm:prSet/>
      <dgm:spPr/>
      <dgm:t>
        <a:bodyPr/>
        <a:lstStyle/>
        <a:p>
          <a:endParaRPr lang="en-US"/>
        </a:p>
      </dgm:t>
    </dgm:pt>
    <dgm:pt modelId="{64201123-7C93-4AA0-96E7-4D7BC7CFDA28}" type="sibTrans" cxnId="{3B7ABBCD-8F29-4F5B-8789-67896450B45F}">
      <dgm:prSet/>
      <dgm:spPr/>
      <dgm:t>
        <a:bodyPr/>
        <a:lstStyle/>
        <a:p>
          <a:endParaRPr lang="en-US"/>
        </a:p>
      </dgm:t>
    </dgm:pt>
    <dgm:pt modelId="{4077586F-7B9A-4F06-899F-8BD11D59818F}">
      <dgm:prSet phldrT="[Text]"/>
      <dgm:spPr/>
      <dgm:t>
        <a:bodyPr/>
        <a:lstStyle/>
        <a:p>
          <a:r>
            <a:rPr lang="en-US" dirty="0"/>
            <a:t>Consistency with </a:t>
          </a:r>
          <a:r>
            <a:rPr lang="en-US" dirty="0" err="1"/>
            <a:t>Mllib</a:t>
          </a:r>
          <a:r>
            <a:rPr lang="en-US" dirty="0"/>
            <a:t> </a:t>
          </a:r>
        </a:p>
      </dgm:t>
    </dgm:pt>
    <dgm:pt modelId="{E80B6C7D-BFCF-4F28-8049-46C98D98D8D5}" type="parTrans" cxnId="{9372608A-4C5C-460D-A3E2-1DEB1EEA10E4}">
      <dgm:prSet/>
      <dgm:spPr/>
      <dgm:t>
        <a:bodyPr/>
        <a:lstStyle/>
        <a:p>
          <a:endParaRPr lang="en-US"/>
        </a:p>
      </dgm:t>
    </dgm:pt>
    <dgm:pt modelId="{2BAA4435-5E73-453B-9785-2085BC708104}" type="sibTrans" cxnId="{9372608A-4C5C-460D-A3E2-1DEB1EEA10E4}">
      <dgm:prSet/>
      <dgm:spPr/>
      <dgm:t>
        <a:bodyPr/>
        <a:lstStyle/>
        <a:p>
          <a:endParaRPr lang="en-US"/>
        </a:p>
      </dgm:t>
    </dgm:pt>
    <dgm:pt modelId="{CB1583A9-BD43-481E-A3C8-B3AF7E59FCA7}">
      <dgm:prSet phldrT="[Text]"/>
      <dgm:spPr/>
      <dgm:t>
        <a:bodyPr/>
        <a:lstStyle/>
        <a:p>
          <a:r>
            <a:rPr lang="en-US" b="0" i="0" u="none" dirty="0"/>
            <a:t>It supports serializing Apache Spark, </a:t>
          </a:r>
          <a:r>
            <a:rPr lang="en-US" b="0" i="0" u="none" dirty="0" err="1"/>
            <a:t>scikit</a:t>
          </a:r>
          <a:r>
            <a:rPr lang="en-US" b="0" i="0" u="none" dirty="0"/>
            <a:t>-learn, and TensorFlow pipelines into a bundle, so you can load and deploy your trained models to make predictions with new data.</a:t>
          </a:r>
          <a:endParaRPr lang="en-US" dirty="0"/>
        </a:p>
      </dgm:t>
    </dgm:pt>
    <dgm:pt modelId="{1DED2859-14F9-4605-8718-1EE67CAA8395}" type="parTrans" cxnId="{92B27EC3-0D2C-445F-AF7F-FEA7201894B9}">
      <dgm:prSet/>
      <dgm:spPr/>
      <dgm:t>
        <a:bodyPr/>
        <a:lstStyle/>
        <a:p>
          <a:endParaRPr lang="en-US"/>
        </a:p>
      </dgm:t>
    </dgm:pt>
    <dgm:pt modelId="{B5CFE120-226E-42D4-9488-DA1608A24076}" type="sibTrans" cxnId="{92B27EC3-0D2C-445F-AF7F-FEA7201894B9}">
      <dgm:prSet/>
      <dgm:spPr/>
      <dgm:t>
        <a:bodyPr/>
        <a:lstStyle/>
        <a:p>
          <a:endParaRPr lang="en-US"/>
        </a:p>
      </dgm:t>
    </dgm:pt>
    <dgm:pt modelId="{98759988-52F1-440B-B348-198AABF79328}">
      <dgm:prSet phldrT="[Text]"/>
      <dgm:spPr/>
      <dgm:t>
        <a:bodyPr/>
        <a:lstStyle/>
        <a:p>
          <a:r>
            <a:rPr lang="en-US" dirty="0"/>
            <a:t>Both Spark Dependency and Non-Spark Dependency </a:t>
          </a:r>
        </a:p>
      </dgm:t>
    </dgm:pt>
    <dgm:pt modelId="{90C12343-F6A2-4D8E-894D-FBA184961467}" type="parTrans" cxnId="{8638F1C5-BD0D-4B57-9A49-B26F051DE7BE}">
      <dgm:prSet/>
      <dgm:spPr/>
    </dgm:pt>
    <dgm:pt modelId="{BE7F2C70-D8D5-4622-B934-EF53DC01DACE}" type="sibTrans" cxnId="{8638F1C5-BD0D-4B57-9A49-B26F051DE7BE}">
      <dgm:prSet/>
      <dgm:spPr/>
    </dgm:pt>
    <dgm:pt modelId="{A6C6495F-E50B-4412-AACA-33653C5D3009}" type="pres">
      <dgm:prSet presAssocID="{86E5EFF1-2816-463F-ABC5-B534C2AB314F}" presName="linear" presStyleCnt="0">
        <dgm:presLayoutVars>
          <dgm:animLvl val="lvl"/>
          <dgm:resizeHandles val="exact"/>
        </dgm:presLayoutVars>
      </dgm:prSet>
      <dgm:spPr/>
    </dgm:pt>
    <dgm:pt modelId="{A29AA7ED-4523-4A5E-93A2-F0987E2263D1}" type="pres">
      <dgm:prSet presAssocID="{45A6A5E1-7DBB-4229-B076-7339F8CBCF13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8E3F6D3B-D8D7-4776-966D-2FF30DA4945A}" type="pres">
      <dgm:prSet presAssocID="{45A6A5E1-7DBB-4229-B076-7339F8CBCF13}" presName="childText" presStyleLbl="revTx" presStyleIdx="0" presStyleCnt="2">
        <dgm:presLayoutVars>
          <dgm:bulletEnabled val="1"/>
        </dgm:presLayoutVars>
      </dgm:prSet>
      <dgm:spPr/>
    </dgm:pt>
    <dgm:pt modelId="{2889BF26-BA91-4710-B2C6-B5202AF6496F}" type="pres">
      <dgm:prSet presAssocID="{D985C6D9-B3FE-437B-9267-FC0CB82CE930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27969FA1-8221-4D83-A226-EB281F54CE3E}" type="pres">
      <dgm:prSet presAssocID="{D985C6D9-B3FE-437B-9267-FC0CB82CE930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34E29222-03B8-4D79-93DC-D1328933C9CF}" srcId="{45A6A5E1-7DBB-4229-B076-7339F8CBCF13}" destId="{BF7C556C-B3E2-4AA9-A7D1-28553CCC58E7}" srcOrd="0" destOrd="0" parTransId="{57980E2F-CDBF-43AA-9EDE-4DBCFEBC861D}" sibTransId="{34E670D3-1531-493A-9846-7034388B57C3}"/>
    <dgm:cxn modelId="{46A6A72A-492F-451B-AE90-80259CA8B29A}" type="presOf" srcId="{CB1583A9-BD43-481E-A3C8-B3AF7E59FCA7}" destId="{8E3F6D3B-D8D7-4776-966D-2FF30DA4945A}" srcOrd="0" destOrd="1" presId="urn:microsoft.com/office/officeart/2005/8/layout/vList2"/>
    <dgm:cxn modelId="{6D596B2D-83C5-4014-99F3-8830B83ED749}" type="presOf" srcId="{45A6A5E1-7DBB-4229-B076-7339F8CBCF13}" destId="{A29AA7ED-4523-4A5E-93A2-F0987E2263D1}" srcOrd="0" destOrd="0" presId="urn:microsoft.com/office/officeart/2005/8/layout/vList2"/>
    <dgm:cxn modelId="{86128635-6A05-45D0-909E-1EBFB4472D4A}" type="presOf" srcId="{98759988-52F1-440B-B348-198AABF79328}" destId="{27969FA1-8221-4D83-A226-EB281F54CE3E}" srcOrd="0" destOrd="1" presId="urn:microsoft.com/office/officeart/2005/8/layout/vList2"/>
    <dgm:cxn modelId="{2395BA44-B281-402D-B919-CCA384CB178D}" type="presOf" srcId="{D985C6D9-B3FE-437B-9267-FC0CB82CE930}" destId="{2889BF26-BA91-4710-B2C6-B5202AF6496F}" srcOrd="0" destOrd="0" presId="urn:microsoft.com/office/officeart/2005/8/layout/vList2"/>
    <dgm:cxn modelId="{02D75882-C029-4FB9-A8C3-3BB032AF7F67}" type="presOf" srcId="{BF7C556C-B3E2-4AA9-A7D1-28553CCC58E7}" destId="{8E3F6D3B-D8D7-4776-966D-2FF30DA4945A}" srcOrd="0" destOrd="0" presId="urn:microsoft.com/office/officeart/2005/8/layout/vList2"/>
    <dgm:cxn modelId="{9372608A-4C5C-460D-A3E2-1DEB1EEA10E4}" srcId="{D985C6D9-B3FE-437B-9267-FC0CB82CE930}" destId="{4077586F-7B9A-4F06-899F-8BD11D59818F}" srcOrd="0" destOrd="0" parTransId="{E80B6C7D-BFCF-4F28-8049-46C98D98D8D5}" sibTransId="{2BAA4435-5E73-453B-9785-2085BC708104}"/>
    <dgm:cxn modelId="{86E3D9C0-4842-4AEA-A167-DD5AD89E7068}" srcId="{86E5EFF1-2816-463F-ABC5-B534C2AB314F}" destId="{45A6A5E1-7DBB-4229-B076-7339F8CBCF13}" srcOrd="0" destOrd="0" parTransId="{341283BA-FEA3-4115-973D-EAA8C6BC671F}" sibTransId="{67B9F541-D100-448A-989E-5039D3141E50}"/>
    <dgm:cxn modelId="{96065DC3-6F44-416B-831A-9B1A6020D680}" type="presOf" srcId="{4077586F-7B9A-4F06-899F-8BD11D59818F}" destId="{27969FA1-8221-4D83-A226-EB281F54CE3E}" srcOrd="0" destOrd="0" presId="urn:microsoft.com/office/officeart/2005/8/layout/vList2"/>
    <dgm:cxn modelId="{92B27EC3-0D2C-445F-AF7F-FEA7201894B9}" srcId="{45A6A5E1-7DBB-4229-B076-7339F8CBCF13}" destId="{CB1583A9-BD43-481E-A3C8-B3AF7E59FCA7}" srcOrd="1" destOrd="0" parTransId="{1DED2859-14F9-4605-8718-1EE67CAA8395}" sibTransId="{B5CFE120-226E-42D4-9488-DA1608A24076}"/>
    <dgm:cxn modelId="{8638F1C5-BD0D-4B57-9A49-B26F051DE7BE}" srcId="{D985C6D9-B3FE-437B-9267-FC0CB82CE930}" destId="{98759988-52F1-440B-B348-198AABF79328}" srcOrd="1" destOrd="0" parTransId="{90C12343-F6A2-4D8E-894D-FBA184961467}" sibTransId="{BE7F2C70-D8D5-4622-B934-EF53DC01DACE}"/>
    <dgm:cxn modelId="{3B7ABBCD-8F29-4F5B-8789-67896450B45F}" srcId="{86E5EFF1-2816-463F-ABC5-B534C2AB314F}" destId="{D985C6D9-B3FE-437B-9267-FC0CB82CE930}" srcOrd="1" destOrd="0" parTransId="{04739EE2-800D-4BA7-9793-784D47495845}" sibTransId="{64201123-7C93-4AA0-96E7-4D7BC7CFDA28}"/>
    <dgm:cxn modelId="{B54672DA-70B4-4BA4-A783-6F788E83BDD9}" type="presOf" srcId="{86E5EFF1-2816-463F-ABC5-B534C2AB314F}" destId="{A6C6495F-E50B-4412-AACA-33653C5D3009}" srcOrd="0" destOrd="0" presId="urn:microsoft.com/office/officeart/2005/8/layout/vList2"/>
    <dgm:cxn modelId="{65C46A59-841B-4DA8-AF92-0E4643AB0F5B}" type="presParOf" srcId="{A6C6495F-E50B-4412-AACA-33653C5D3009}" destId="{A29AA7ED-4523-4A5E-93A2-F0987E2263D1}" srcOrd="0" destOrd="0" presId="urn:microsoft.com/office/officeart/2005/8/layout/vList2"/>
    <dgm:cxn modelId="{3C66AAC4-5481-466E-94D8-7098FFE3D385}" type="presParOf" srcId="{A6C6495F-E50B-4412-AACA-33653C5D3009}" destId="{8E3F6D3B-D8D7-4776-966D-2FF30DA4945A}" srcOrd="1" destOrd="0" presId="urn:microsoft.com/office/officeart/2005/8/layout/vList2"/>
    <dgm:cxn modelId="{F368BB94-FA98-4679-A0F0-FD9F7AE0E2EC}" type="presParOf" srcId="{A6C6495F-E50B-4412-AACA-33653C5D3009}" destId="{2889BF26-BA91-4710-B2C6-B5202AF6496F}" srcOrd="2" destOrd="0" presId="urn:microsoft.com/office/officeart/2005/8/layout/vList2"/>
    <dgm:cxn modelId="{EB26110D-F2E0-4D0D-A21F-27E89A58E06E}" type="presParOf" srcId="{A6C6495F-E50B-4412-AACA-33653C5D3009}" destId="{27969FA1-8221-4D83-A226-EB281F54CE3E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6488C3-C861-4620-8D23-8A89266FAB09}">
      <dsp:nvSpPr>
        <dsp:cNvPr id="0" name=""/>
        <dsp:cNvSpPr/>
      </dsp:nvSpPr>
      <dsp:spPr>
        <a:xfrm rot="5400000">
          <a:off x="507673" y="1770520"/>
          <a:ext cx="1519334" cy="2528139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84CDCC3-5ED8-4550-A57E-EC69C32A9AA0}">
      <dsp:nvSpPr>
        <dsp:cNvPr id="0" name=""/>
        <dsp:cNvSpPr/>
      </dsp:nvSpPr>
      <dsp:spPr>
        <a:xfrm>
          <a:off x="254058" y="2525889"/>
          <a:ext cx="2282418" cy="2000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Fit an ML Model using Apache Spark </a:t>
          </a:r>
          <a:r>
            <a:rPr lang="en-US" sz="2900" kern="1200" dirty="0" err="1"/>
            <a:t>MLLib</a:t>
          </a:r>
          <a:endParaRPr lang="en-US" sz="2900" kern="1200" dirty="0"/>
        </a:p>
      </dsp:txBody>
      <dsp:txXfrm>
        <a:off x="254058" y="2525889"/>
        <a:ext cx="2282418" cy="2000673"/>
      </dsp:txXfrm>
    </dsp:sp>
    <dsp:sp modelId="{3EB96D79-79B2-4621-A4B9-E00920A234A1}">
      <dsp:nvSpPr>
        <dsp:cNvPr id="0" name=""/>
        <dsp:cNvSpPr/>
      </dsp:nvSpPr>
      <dsp:spPr>
        <a:xfrm>
          <a:off x="2105832" y="1584396"/>
          <a:ext cx="430644" cy="430644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31A1F3-FE9E-47B8-B42D-086C30D17A3F}">
      <dsp:nvSpPr>
        <dsp:cNvPr id="0" name=""/>
        <dsp:cNvSpPr/>
      </dsp:nvSpPr>
      <dsp:spPr>
        <a:xfrm rot="5400000">
          <a:off x="3301799" y="1079111"/>
          <a:ext cx="1519334" cy="2528139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13E69A-776D-4DF4-B73D-FF360F2B40F0}">
      <dsp:nvSpPr>
        <dsp:cNvPr id="0" name=""/>
        <dsp:cNvSpPr/>
      </dsp:nvSpPr>
      <dsp:spPr>
        <a:xfrm>
          <a:off x="3048184" y="1834480"/>
          <a:ext cx="2282418" cy="2000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Export the Model into HDFS/Azure Blob Store</a:t>
          </a:r>
        </a:p>
      </dsp:txBody>
      <dsp:txXfrm>
        <a:off x="3048184" y="1834480"/>
        <a:ext cx="2282418" cy="2000673"/>
      </dsp:txXfrm>
    </dsp:sp>
    <dsp:sp modelId="{8A155065-AC23-48CB-B0A5-7AD29A4B6465}">
      <dsp:nvSpPr>
        <dsp:cNvPr id="0" name=""/>
        <dsp:cNvSpPr/>
      </dsp:nvSpPr>
      <dsp:spPr>
        <a:xfrm>
          <a:off x="4899957" y="892986"/>
          <a:ext cx="430644" cy="430644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394891-8EC5-45BC-966C-2C6B31BC0494}">
      <dsp:nvSpPr>
        <dsp:cNvPr id="0" name=""/>
        <dsp:cNvSpPr/>
      </dsp:nvSpPr>
      <dsp:spPr>
        <a:xfrm rot="5400000">
          <a:off x="6095925" y="387702"/>
          <a:ext cx="1519334" cy="2528139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59EE5A-4981-4437-9F0A-AB745364E797}">
      <dsp:nvSpPr>
        <dsp:cNvPr id="0" name=""/>
        <dsp:cNvSpPr/>
      </dsp:nvSpPr>
      <dsp:spPr>
        <a:xfrm>
          <a:off x="5842310" y="1143070"/>
          <a:ext cx="2282418" cy="2000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Import the model into an external system</a:t>
          </a:r>
        </a:p>
      </dsp:txBody>
      <dsp:txXfrm>
        <a:off x="5842310" y="1143070"/>
        <a:ext cx="2282418" cy="20006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9AA7ED-4523-4A5E-93A2-F0987E2263D1}">
      <dsp:nvSpPr>
        <dsp:cNvPr id="0" name=""/>
        <dsp:cNvSpPr/>
      </dsp:nvSpPr>
      <dsp:spPr>
        <a:xfrm>
          <a:off x="0" y="55623"/>
          <a:ext cx="8128000" cy="823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/>
            <a:t>MLeap</a:t>
          </a:r>
          <a:endParaRPr lang="en-US" sz="3200" kern="1200" dirty="0"/>
        </a:p>
      </dsp:txBody>
      <dsp:txXfrm>
        <a:off x="40209" y="95832"/>
        <a:ext cx="8047582" cy="743262"/>
      </dsp:txXfrm>
    </dsp:sp>
    <dsp:sp modelId="{8E3F6D3B-D8D7-4776-966D-2FF30DA4945A}">
      <dsp:nvSpPr>
        <dsp:cNvPr id="0" name=""/>
        <dsp:cNvSpPr/>
      </dsp:nvSpPr>
      <dsp:spPr>
        <a:xfrm>
          <a:off x="0" y="879303"/>
          <a:ext cx="8128000" cy="2450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064" tIns="40640" rIns="227584" bIns="40640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500" kern="1200" dirty="0"/>
            <a:t>Open sourced, Easily reuse models with serialization and executing without Spark Dependency.</a:t>
          </a:r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500" b="0" i="0" u="none" kern="1200" dirty="0"/>
            <a:t>It supports serializing Apache Spark, </a:t>
          </a:r>
          <a:r>
            <a:rPr lang="en-US" sz="2500" b="0" i="0" u="none" kern="1200" dirty="0" err="1"/>
            <a:t>scikit</a:t>
          </a:r>
          <a:r>
            <a:rPr lang="en-US" sz="2500" b="0" i="0" u="none" kern="1200" dirty="0"/>
            <a:t>-learn, and TensorFlow pipelines into a bundle, so you can load and deploy your trained models to make predictions with new data.</a:t>
          </a:r>
          <a:endParaRPr lang="en-US" sz="2500" kern="1200" dirty="0"/>
        </a:p>
      </dsp:txBody>
      <dsp:txXfrm>
        <a:off x="0" y="879303"/>
        <a:ext cx="8128000" cy="2450880"/>
      </dsp:txXfrm>
    </dsp:sp>
    <dsp:sp modelId="{2889BF26-BA91-4710-B2C6-B5202AF6496F}">
      <dsp:nvSpPr>
        <dsp:cNvPr id="0" name=""/>
        <dsp:cNvSpPr/>
      </dsp:nvSpPr>
      <dsp:spPr>
        <a:xfrm>
          <a:off x="0" y="3330183"/>
          <a:ext cx="8128000" cy="823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Databricks ML Model Export</a:t>
          </a:r>
        </a:p>
      </dsp:txBody>
      <dsp:txXfrm>
        <a:off x="40209" y="3370392"/>
        <a:ext cx="8047582" cy="743262"/>
      </dsp:txXfrm>
    </dsp:sp>
    <dsp:sp modelId="{27969FA1-8221-4D83-A226-EB281F54CE3E}">
      <dsp:nvSpPr>
        <dsp:cNvPr id="0" name=""/>
        <dsp:cNvSpPr/>
      </dsp:nvSpPr>
      <dsp:spPr>
        <a:xfrm>
          <a:off x="0" y="4153863"/>
          <a:ext cx="8128000" cy="927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064" tIns="40640" rIns="227584" bIns="40640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500" kern="1200" dirty="0"/>
            <a:t>Consistency with </a:t>
          </a:r>
          <a:r>
            <a:rPr lang="en-US" sz="2500" kern="1200" dirty="0" err="1"/>
            <a:t>Mllib</a:t>
          </a:r>
          <a:r>
            <a:rPr lang="en-US" sz="2500" kern="1200" dirty="0"/>
            <a:t> </a:t>
          </a:r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500" kern="1200" dirty="0"/>
            <a:t>Both Spark Dependency and Non-Spark Dependency </a:t>
          </a:r>
        </a:p>
      </dsp:txBody>
      <dsp:txXfrm>
        <a:off x="0" y="4153863"/>
        <a:ext cx="8128000" cy="9273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3:16:42.65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168 389 992,'1'-13'383,"0"13"-371,-1-1 0,0 0-1,1 1 1,-1-1-1,0 0 1,0 1 0,0-1-1,0 0 1,0 0-1,1 1 1,-1-1 0,-1 0-1,1 0 1,0 1-1,0-1 1,0 0 0,0 1-1,0-1 1,-1 0-1,1 1 1,0-1 0,-1 0-1,1 1 1,0-1 0,-1 0-1,1 1 1,-1-1-1,1 1 1,-1-1 0,1 1-1,-1-1 1,1 1-1,-1-1 1,0 1 0,1 0-1,-1-1 1,0 1-1,1 0 1,-1-1 0,0 1-1,1 0 1,-1 0-1,0 0 1,1 0 0,-1-1-1,0 1-11,-26-6 1168,15 3-686,-1 0 1,1-1 0,0 0 0,-12-7-483,2 0 360,-1 1 1,0 1-1,0 1 1,-1 0-1,-10 0-360,-8-3 78,-8-1-198,-51 0 1117,-37 3-997,120 8 94,0-1-1,1-1 1,-1-1 0,1 0-1,-12-6-93,-17-7 258,-15-11-258,19 8 602,-35-10-602,9 10 393,0 2 0,-4 4-393,-141-20-121,196 32 101,-36-5 2,0 2 0,-17 3 18,41 2-82,0 2 1,0 1-1,-1 1 1,-26 8 81,30-5-56,1 1 1,-1 1-1,1 2 1,1 0-1,-19 12 56,-102 76-366,74-48 407,-5-2-41,-1 1-165,2 3-1,2 3 1,3 3 0,3 3-1,-32 41 166,12-2-9,-12 12-19,71-83-12,2 1-1,1 1 1,1 1-1,2 1 1,1 1-1,2 1 1,2 0 0,1 2-1,2 0 1,1 1-1,2 0 1,1 4 40,-9 56-51,-10 48-426,-5 108 477,28-184-64,3-1 0,4 1 0,7 55 64,0-84 307,1 0 1,8 18-308,6 22 35,-17-54-97,2 0-1,0 0 0,2-1 0,2 0 0,8 15 63,16 22-141,1 2-60,24 30 201,-7-11 7,-18-25-158,-10-16 63,-3 2-1,-2 1 0,2 9 89,-8-18-16,2 4-80,3 0 0,1-2 0,7 10 96,2-1 405,-18-27-317,1-2 0,1 0 0,0 0 0,2-1-88,16 17-265,-5-5 279,26 22-14,-2-10-320,10 4 320,-34-27 11,20 14-128,33 16 106,-41-27-63,-23-13 58,1 0-1,12 4 17,10 3-38,2-2 0,0-2 0,0-2 0,1-1-1,0-2 1,5-2 38,47-1-83,12-5 83,-53 0 115,14-3 29,61-10-144,-49-1-40,0-3 0,63-25 40,-107 32-48,27-13 151,-1-1 0,29-18-103,-1 0 23,-43 21-60,-1 0-32,3 1 69,15-6 67,0-4-67,4-1 34,-46 21-72,0 0-1,-1-2 1,-1 0 0,0-1-1,10-9 39,5-6 12,-1-2 0,-2 0-1,-1-3 1,-1 0 0,17-27-12,118-194-230,-124 194 143,40-61 89,-47 68-74,-4-1-1,-1-1 1,-3-2-1,-2 0 1,11-49 72,-12 34 319,-11 39-183,-2 0 0,0-6-136,4-21 65,-6 34-105,-2-1-1,1-10 41,29-218-298,-26 175 362,2-16-208,-1-75 144,-10 134 34,-1 1-1,-2-1 1,-6-24-34,-3 3 1285,2-10-1285,5 39 166,0 2-1,-3-1 0,0 0 1,-1 1-1,-2 1 0,-4-8-165,2 10 5,-1 1 0,-1 0 0,-7-7-5,5 7 28,3 5-2,-1 0 0,0 1 0,-2 0 0,0 1-1,-13-8-25,-6-2-776,0 2-1,-25-12 777,29 20-680,0 1 0,-19-6 680,-99-25-2606,148 46 2567</inkml:trace>
  <inkml:trace contextRef="#ctx0" brushRef="#br0" timeOffset="2566.872">892 5732 3392,'1'-3'114,"-1"1"0,1-1 1,0 0-1,0 1 0,0-1 0,0 1 1,0-1-1,0 1 0,1 0 0,0-2-114,23-19 342,-18 17-301,-4 3-35,17-14 355,0-1 0,-2 0 1,0-2-1,0-1-361,37-50 737,114-143 190,92-114-826,-6 6-240,55-74 268,7-8-124,210-225-1829,-463 556 501,3 3 1,10-3 1322,-43 46-939,-18 20-501</inkml:trace>
  <inkml:trace contextRef="#ctx0" brushRef="#br0" timeOffset="2927.183">1185 6119 3968,'-2'3'255,"1"-2"-187,1 0 0,-1-1 0,1 1 0,-1-1 0,1 1 0,0 0 0,-1-1 0,1 1 0,0 0 0,0-1 0,-1 1 0,1 0 0,0 0 0,0-1 0,0 1-68,0 0 28,1-1 0,0 0-1,0 0 1,0 1 0,0-1 0,-1 0-1,1 0 1,0 0 0,0 0 0,0 0-1,0 0 1,0-1 0,-1 1 0,1 0-1,0 0 1,0-1 0,0 1 0,-1 0-1,1-1-27,6 0 40,2-2 128,0 1 1,0-1-1,0-1 1,0 0 0,0 0-1,3-3-168,17-12 371,0-2 1,-1-1-1,-1-1 0,-1-2 1,21-26-372,24-36 691,11-25-691,-52 70 108,463-666 559,51-93-1137,-377 569-169,72-98-1266,-234 324 1806,184-240-4377,-145 189 3270,-12 12 369</inkml:trace>
  <inkml:trace contextRef="#ctx0" brushRef="#br0" timeOffset="3149.999">1910 4981 5056,'-5'-7'1888,"22"2"-1472,9-14-128,-4 8-1056</inkml:trace>
  <inkml:trace contextRef="#ctx0" brushRef="#br0" timeOffset="3388.018">2529 4220 5632,'-8'0'2112,"8"0"-1664,5 0-96,3-5-2240</inkml:trace>
  <inkml:trace contextRef="#ctx0" brushRef="#br0" timeOffset="3578.009">2625 4059 9216,'-35'22'3424,"22"-14"-2656,10 8-224,3-10-1632,3 2 480,10-16-224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6:00:14.67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49 142 2080,'-1'-2'80,"1"0"0,-1 0 0,0-1 0,0 1 0,0 0 0,0 1 0,0-1 0,-1 0-1,1 0 1,-1 0 0,1 1 0,-1-1 0,1 1 0,-1-1 0,0 1 0,0 0 0,-1-1-80,-1 0 44,1 1 0,-1-1 0,1 1 0,-1 0 0,0 0 0,1 1-1,-1-1 1,0 1 0,0-1 0,0 1-44,-7 1-7,0 0 0,-1 0-1,1 1 1,0 1 0,0 0 0,-6 2 7,-16 9-58,0 2 1,0 1 0,2 2-1,-13 10 58,29-17-22,0 1 0,0 0 0,1 1-1,0 1 1,2 0 0,-4 6 22,13-18-13,1 1 1,-1-1-1,1 1 1,0 0 0,0 0-1,0 0 1,1 0-1,-1 0 1,1 0-1,0 0 1,0 0-1,0 1 1,1 2 12,0-4 1,0-1 1,0 0-1,1 1 0,-1-1 1,1 0-1,0 1 1,0-1-1,0 0 1,0 0-1,0 0 0,0 1 1,0-1-1,1-1 1,-1 1-1,1 0 1,-1 0-1,1 0 0,0-1 1,0 1-1,0-1 1,0 1-1,0-1 0,0 0 1,1 1-2,10 3 42,1 0-1,-1-1 1,1 0 0,0-1 0,0 0 0,12 0-42,6 1 58,-16-1-42,11 2 80,0 0 0,0 2 0,3 2-96,-23-6 16,1 0 0,-1 0 1,0 0-1,0 1 1,-1 0-1,1 1 1,-1-1-1,0 1 1,0 1-1,0-1 1,-1 1-1,1 0 1,-1 1-17,0 0 13,1 1 0,-2 0 0,1 0 0,2 8-13,-6-14 14,0 1 1,0-1 0,0 1 0,-1-1 0,0 1 0,1-1 0,-1 1 0,0 0 0,0-1 0,0 1 0,0 0 0,-1-1 0,1 1 0,-1-1 0,0 1 0,1-1 0,-1 1 0,0-1 0,-1 2-15,-4 6 210,-1-1-1,0 1 1,-1-1 0,0 0 0,0-1 0,0 0 0,-1 0 0,-1-1 0,1 0 0,-10 5-210,5-4-46,0-1 0,-1 0-1,0-1 1,0 0 0,0-2 0,-1 0-1,-11 2 47,-9-2-1002</inkml:trace>
  <inkml:trace contextRef="#ctx0" brushRef="#br0" timeOffset="450.029">416 177 2976,'-3'-3'326,"3"2"-270,0 1 0,-1-1 1,1 1-1,0-1 0,-1 1 0,1-1 1,-1 1-1,1-1 0,-1 1 0,1-1 1,-1 1-1,1 0 0,-1-1 1,0 1-1,1 0 0,-1-1 0,0 1 1,0 0-57,1 0 181,16 3-10,-13-2-175,0 1 0,-1-1 1,1 1-1,0-1 1,-1 1-1,0 0 0,1 0 1,-1 0-1,0 0 1,0 1-1,0-1 0,0 1 1,0-1-1,-1 1 1,1 0-1,0 1 4,3 8 21,0 0 1,-1 1 0,1 6-22,3 8 25,30 95 113,27 77 150,-45-150-245,23 62-139,14 63 96,-48-129-688</inkml:trace>
  <inkml:trace contextRef="#ctx0" brushRef="#br0" timeOffset="824.07">492 253 2912,'-2'-37'923,"2"37"-905,0-1 1,0 0 0,0 1-1,0-1 1,0 0 0,0 1-1,0-1 1,0 0 0,0 0-1,0 1 1,1-1 0,-1 1-1,0-1 1,0 0 0,1 1-1,-1-1 1,1 0 0,-1 1-1,0-1 1,1 0-19,4-3 7,-1 0 1,1 0-1,0 0 1,0 1-1,1 0 1,-1 0 0,1 0-1,-1 0 1,1 1-1,0 0 1,0 0-1,0 1 1,0-1-1,0 1 1,0 1-1,1-1 1,-1 1-1,0 0 1,0 0-1,0 1 1,0 0-1,1 0 1,-1 1-1,0-1 1,0 2-8,3-1 5,0 2 0,0-1 1,-1 1-1,0 0 0,0 1 0,0 0 1,0 0-1,-1 1 0,0 0 0,0 0 1,0 1-1,-1 0 0,0 0 0,0 0 1,-1 1-1,4 7-5,-6-9 5,0 1 0,0 0 1,-1 0-1,1 0 0,-2 0 0,1 0 1,-1 1-1,0-1 0,0 0 0,-1 1 1,0-1-1,-1 1 0,1-1 0,-2 0 1,1 3-6,-2-2-4,1 1 1,-2-1-1,1 1 1,-1-1-1,0 0 1,-1-1-1,1 1 1,-2-1 0,1 0-1,-1 0 1,0 0-1,-4 2 4,3-2-132,-1-1 0,0-1 0,-1 0 0,1 0 0,-5 2 132,3-2-204,-22 14-1113</inkml:trace>
  <inkml:trace contextRef="#ctx0" brushRef="#br0" timeOffset="2030.859">1234 311 832,'-7'-3'104,"0"1"-1,-1 0 1,1 0-1,0 1 1,-1 0-1,1 0 1,-1 0 0,1 1-1,-1 1 1,1-1-1,-1 1 1,1 0-1,-1 1 1,1 0 0,0 0-1,0 0 1,0 1-1,-1 1-103,-5 2 39,1 0 0,1 1 0,-1 0-1,1 1 1,0 0 0,1 1 0,0 0-1,0 0 1,-5 8-39,10-11 4,1 0 0,-1 1 0,1 0 1,0-1-1,1 1 0,0 0 0,0 1 0,0-1 0,1 0 0,0 1 0,0 3-4,1-7 1,1-1 0,0 1-1,0-1 1,0 1 0,0-1 0,1 1-1,-1-1 1,1 1 0,0-1 0,0 0-1,0 1 1,0-1 0,1 0 0,0 0 0,-1 0-1,1 0 1,0 0 0,0 0 0,0 0-1,1-1 1,-1 1 0,1-1 0,0 0-1,-1 1 1,4 0-1,-3-1 10,0 0 0,1 0 0,-1 0 0,1-1 0,0 0 0,-1 1 0,1-1 0,0-1 0,0 1 0,0 0 0,0-1 0,0 0 0,-1 0 0,1 0 0,0 0 0,0-1-1,0 0 1,0 1 0,0-1 0,-1-1 0,1 1 0,0-1 0,2 0-10,0-2 71,1 0 0,-1 0 0,1-1-1,-1 1 1,-1-1 0,1-1 0,-1 1 0,1-1 0,-2 0-1,1 0 1,2-4-71,12-19 832,1 1 0,7-7-832,-27 35 0,0-1 0,1 0 1,-1 1-1,1-1 0,-1 1 0,1-1 0,-1 1 0,1-1 1,0 1-1,-1-1 0,1 1 0,-1 0 0,1-1 0,0 1 1,-1 0-1,1-1 0,0 1 0,0 0 0,-1 0 0,1 0 0,0 0 1,0 0-1,-1-1 0,1 1 0,0 1 0,0-1 0,-1 0 1,1 0-1,0 0 0,0 0 0,-1 0 0,1 1 0,0-1 0,-1 0 1,1 1-1,0-1 0,-1 0 0,1 1 0,-1-1 0,1 1 0,3 3-2,0 0 0,-1 0-1,0 0 1,0 0-1,0 1 1,0 0 2,9 12 83,-6-10-74,0-1 1,1 0-1,-1 0 1,1 0-1,1-1 1,-1 0-1,1-1 1,0 1-1,0-1 1,5 1-10,-10-4 13,1 1 1,-1-1-1,1-1 1,-1 1-1,1 0 0,0-1 1,-1 0-1,1 0 1,0 0-1,-1 0 1,1 0-1,0-1 1,-1 0-1,1 0 1,-1 0-1,1 0 1,-1 0-1,0-1 1,1 1-1,-1-1 1,0 0-1,0 0 1,0 0-1,0 0 1,0-1-1,-1 1 0,2-2-13,-1-1 83,1 0 0,-1-1-1,0 1 1,0 0-1,-1-1 1,1 0 0,-1 0-1,-1 0 1,1 1-1,-1-2 1,0 1 0,0 0-1,-1 0 1,0 0-1,0 0 1,0-1-83,-1-8 94,-1 0 1,0 0-1,-1 1 1,0-1-1,-1 1 0,-1-2-94,-1-1-3,0 0 17,0 0-1,-1 1 1,-6-11-14,11 23 2,-1 1 0,1-1 0,0 1 0,-1-1 1,0 1-1,0 0 0,0 0 0,0 0 0,0 0 1,-1 1-1,1-1 0,-1 1 0,0 0 0,0 0 1,0 0-1,1 0 0,-4 0-2,5 2-12,0-1 0,0 1 0,0 0 0,0 0 0,0 0 0,0 0 0,0 0 0,0 0 0,0 1 0,0-1 0,1 0 0,-1 1 0,0 0 0,0-1 0,0 1 0,0 0 0,1 0-1,-1 0 1,1 0 0,-1 0 0,0 1 0,1-1 0,0 0 0,-1 1 0,1-1 0,0 1 0,0-1 0,0 1 0,0 0 0,0-1 0,0 1 0,0 0 0,0 0 0,1 0 0,-1-1 0,1 1 0,-1 0 0,1 0 0,0 1 12,-1-1-3,1 1 0,0 0-1,-1-1 1,1 1 0,0 0 0,0-1 0,1 1 0,-1 0 0,0 0 0,1-1-1,0 1 1,0-1 0,0 1 0,0-1 0,0 1 0,0-1 0,0 1 0,1-1-1,-1 0 1,1 0 0,0 0 0,0 0 0,0 0 0,0 0 0,0 0-1,0-1 1,0 1 0,0-1 0,1 1 3,14 4 7,0 0 0,1-1 1,0-1-1,1-1-7,0 1 31,1 1-1,-1 0 1,5 3-31,-18-5 3,1 0-1,-1 0 1,1 0-1,-1 1 1,-1 0 0,1 1-1,0-1 1,-1 1-1,0 0 1,0 0-1,1 2-2,9 14-71,-1 1 0,-1 1 0,7 17 71,-8-15 28,1 0 1,2-1-1,7 9-28,-9-16 31,0-2-1,6 6-30,-14-16-1,0-1 0,0 1 0,1-1 1,0 0-1,0-1 0,0 1 0,0-1 1,0 0-1,1-1 1,4 2-6,-1-1 0,0 0 0,1-1 0,4 1 6,-11-3 18,-1 0 0,1 0 0,-1 0 0,0 0 0,1-1 0,-1 1-1,1-1 1,-1 0 0,0 0 0,0 0 0,1 0 0,-1 0 0,0-1 0,0 1 0,1-2-18,0 0 2,0-1-1,0 1 0,-1-1 1,1 1-1,-1-1 1,0 0-1,0-1 1,0 1-1,-1 0 1,1-1-1,-1 1 1,0-1-1,-1 0 1,1 0-1,-1 0 1,0 0-1,0 0 0,0 0 1,-1-2-2,1-11 47,-1 1-1,-1 0 1,-1 0 0,-1 0-1,0 0-46,-15-84 1211,-4 2 0,-5-3-1211,-8-35-224,37 137 121,3 5 22,6 10 9,36 92-14,19 49-80,-9-19-990,-36-92 379,32 67-2297,-40-89 493</inkml:trace>
  <inkml:trace contextRef="#ctx0" brushRef="#br0" timeOffset="2418.754">2358 112 2560,'-1'-1'33,"0"1"-1,1 0 1,-1 0 0,0 0-1,0 0 1,1 0 0,-1 0 0,0 0-1,0 0 1,1 0 0,-1 0-1,0 0 1,0 0 0,1 0 0,-1 1-1,0-1 1,0 0 0,1 0-1,-1 1 1,0-1 0,1 1 0,-1-1-1,1 1 1,-1-1 0,0 1-1,1-1 1,-1 1 0,1-1 0,-1 1-1,1 0 1,0-1 0,-1 1-1,1 0 1,0-1 0,-1 1 0,1 0-1,0-1 1,-1 2-33,-7 12 165,0-3-165,-1-2 0,-1 1 0,0-1 0,0 0 0,-1-1 0,0-1 0,0 1 0,-24 17 0,3 0 0,1 2 0,-16 17 0,38-34 0,1-1 0,0 1 0,0 1 0,1-1 0,0 1 0,1 1 0,1-1 0,-1 1 0,2 0 0,-2 4 0,5-11 11,0-1 1,1 0-1,-1 1 1,1-1 0,0 1-1,0-1 1,0 0-1,0 1 1,1-1-1,0 1 1,0-1-1,0 0 1,0 1-1,1-1 1,0 0-1,0 0 1,1 1-12,1 1 27,0 0-1,0-1 1,1 1 0,0-1 0,0 0 0,0 0-1,0-1 1,1 1 0,0-1 0,3 1-27,30 16-41,0-2-1,23 6 42,-33-13-173,8 3-771</inkml:trace>
  <inkml:trace contextRef="#ctx0" brushRef="#br0" timeOffset="2774.435">2280 5 3392,'0'0'1248,"14"0"-960,17-5-64,-11 13 224,10 0-288,13 3 0,10 5-96,-2 3 32,0 4-64,1 12-160,-4 14 64,-14 16 160,-17 20-32,-17 10-224,-25 9 64,-28 2-3072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6:00:06.14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04 0 640,'-9'1'56,"0"0"-1,-1 0 1,1 0-1,0 1 1,0 0-1,0 1 1,0 0-1,0 1 1,1 0 0,0 0-1,-1 0 1,0 2-56,-35 21 853,-33 26-853,60-40 202,1 1 1,0 1 0,1 0-1,1 1 1,-11 14-203,19-20 104,0 1 0,1-1 0,0 1 0,0 0 0,1 0-1,-2 12-102,-3 16 143,-1 16-144,10-52 0,-3 20 44,0 1-1,2-1 1,1 0 0,0 1-1,3 9-43,-1-18 38,1 0 0,0 0 0,1 0 1,1 0-1,0-1 0,1 0 0,1 0 0,6 10-38,-7-14 39,1-1-1,1 0 1,0 0 0,0-1-1,1 0 1,0 0 0,1 0-39,23 16 203,15 7-203,-31-21 33,17 12-35,1-3 1,1 0 0,1-3-1,23 7 2,-25-12-581</inkml:trace>
  <inkml:trace contextRef="#ctx0" brushRef="#br0" timeOffset="3391.233">586 360 1248,'0'0'14,"0"0"0,0 0 0,0 0 0,0 0-1,0 0 1,0-1 0,0 1 0,0 0 0,0 0 0,0 0 0,-1 0 0,1 0 0,0 0-1,0 0 1,0 0 0,0-1 0,0 1 0,0 0 0,0 0 0,0 0 0,0 0 0,0 0-1,0 0 1,-1 0 0,1 0 0,0 0 0,0 0 0,0 0 0,0 0 0,0 0 0,0 0-1,0 0 1,-1 0 0,1 0 0,0 0 0,0 0 0,0 0 0,0 0 0,0 0 0,0 0-1,-1 0 1,1 0 0,0 0 0,0 0 0,0 0 0,0 0 0,0 0 0,0 0 0,0 0 0,-1 0-1,1 0 1,0 0 0,0 0-14,-2 2 13,7 2 86,-3-2-36,0-1 0,-1 1 0,1 0 1,0-1-1,-1 1 0,0 0 0,1 0 0,-1 0 1,0 0-1,0 0 0,0 1 0,0-1 0,-1 0 0,1 0 1,0 0-1,-1 1 0,0-1 0,1 0 0,-1 2-63,3 9 213,19 84-349,6 71 136,-23-139-477,-1-3-979</inkml:trace>
  <inkml:trace contextRef="#ctx0" brushRef="#br0" timeOffset="4040.801">693 295 2400,'-2'-3'135,"0"0"-1,0 1 1,0-1 0,1 0-1,-1 0 1,1-1 0,0 1-1,0 0 1,0 0 0,1-1-1,-1 1 1,1 0 0,0-1-1,-1 1 1,2-1 0,-1-2-135,0 5-5,1 0 1,-1 0 0,1 0 0,-1 0 0,1 0-1,-1 0 1,1 0 0,0 1 0,-1-1 0,1 0-1,0 0 1,0 1 0,-1-1 0,1 0 0,0 1-1,0-1 1,0 1 0,0-1 0,0 1 0,0-1 0,0 1-1,0 0 1,0-1 0,0 1 0,0 0 0,0 0-1,0 0 1,1 0 4,2-1-17,-1 1 1,1 0-1,0 1 0,0-1 0,-1 1 1,1-1-1,3 2 17,-3-1 6,0 0-1,1 1 1,-1 0 0,0 0 0,0 0-1,0 0 1,0 1 0,0-1 0,-1 1-1,1 0 1,-1 0 0,1 0 0,-1 1-1,0-1 1,-1 1 0,1 0 0,0-1-1,-1 1 1,0 0 0,0 1-1,0-1 1,-1 0 0,1 0 0,-1 1-1,0-1 1,0 3-6,2 7-15,-1 0-1,-1 0 1,0 0-1,-1 0 0,0 0 1,-1 0-1,-1 0 1,0 0-1,-1 0 1,-1 0-1,0-1 1,-4 9 15,2-3 12,6-16-12,-1 0 0,0 0-1,0 0 1,0 1 0,0-1 0,-1-1 0,1 1 0,-1 0 0,0 0-1,0 0 1,0-1 0,-1 2 0,3-4 86,1 0-22,7-3-67,0 1 1,0 0-1,0 0 1,0 1 0,0 0-1,0 0 1,4 1 2,-7 0-19,-1 1 1,1-1-1,-1 1 1,0 0-1,1 1 0,-1-1 1,0 1-1,0 0 0,0 0 1,0 0-1,0 0 0,0 1 1,0-1-1,1 3 19,3 3 5,-1-1 0,0 2 0,-1-1 0,0 1 0,0 0 0,-1 0 0,0 0 0,0 1 0,-1 0-1,-1 0 1,1 0 0,-2 0 0,2 8-5,-3-11 13,-1 0 1,0 0-1,-1 0 0,1 0 0,-1-1 0,-1 1 1,1 0-1,-1 0 0,0-1 0,-1 1 1,1-1-1,-1 0 0,-1 0 0,1 0 0,-1 0 1,0 0-1,0-1 0,-3 3-13,-4 4 112,-1-1 1,0 0-1,0-1 0,-1 0 1,0-1-1,-1-1 0,-7 4-112,14-8-34,1-1 0,-2 0 0,1 0-1,0-1 1,-1 1 0,1-2 0,-1 1 0,1-1-1,-1 0 1,0-1 0,0 1 0,1-2 0,-1 1-1,0-1 1,1 0 0,-1-1 0,-6-1 34,-58-21-2619,53 16 1494</inkml:trace>
  <inkml:trace contextRef="#ctx0" brushRef="#br0" timeOffset="5106.645">1184 559 160,'1'-1'4,"0"0"0,-1 0 0,0 0 0,1-1-1,-1 1 1,0 0 0,0 0 0,1-1 0,-1 1 0,0 0 0,0 0 0,0-1 0,-1 0-4,-2 1 360,3 1-115,0 0 112,0 0-79,0 0 84,0 0-84,0 2 84,1 8-112,0-1-1,1 0 1,0 4-250,1-2 74,-1 0 0,-1 0 0,0 7-74,5 179-85,-5-189 95,0 1 1,1 0 0,0 0-1,1-1 1,0 0 0,0 1-1,1-1 1,0 0 0,0 0-1,1-1 1,1 2-11,-4-7 15,-1 0-1,1 0 1,0-1 0,0 1-1,0-1 1,0 1 0,0-1-1,0 1 1,0-1-1,1 0 1,-1 0 0,0 0-1,1-1 1,-1 1 0,1-1-1,-1 1 1,1-1 0,-1 0-1,1 1 1,-1-1 0,1-1-1,-1 1 1,1 0 0,-1 0-1,0-1 1,1 0 0,-1 1-1,1-1 1,-1 0 0,0 0-15,11-5 48,-1 0 1,1 0-1,-2-1 1,1-1-1,-1 0-48,-3 2 11,-2 3 32,8-7 56,0 0 1,5-6-100,-15 12 47,0 1-1,-1-1 1,1 0 0,-1 0 0,0-1-1,0 1 1,-1 0 0,1-1 0,-1 0 0,0-1-47,0 3 41,-1 0 1,1 0-1,-1-1 1,-1 1 0,1-1-1,0 1 1,-1-1-1,1 1 1,-1-1 0,0 1-1,0-1 1,-1 1-1,1-1 1,-1 1 0,0-4-42,1 7 0,0 0 1,0 0 0,0 0 0,0-1 0,0 1 0,-1 0 0,1 0 0,0 0 0,0 0 0,0 0 0,0 0 0,0-1 0,0 1 0,0 0 0,0 0 0,0 0 0,0 0 0,-1 0 0,1 0 0,0 0 0,0 0 0,0 0 0,0 0 0,0-1-1,-1 1 1,1 0 0,0 0 0,0 0 0,0 0 0,0 0 0,0 0 0,0 0 0,-1 0 0,1 0 0,0 0 0,0 0 0,0 0 0,0 0 0,0 0 0,-1 0 0,1 0-1,-4 6 3,-1 10-24,5-10 29,0 0 1,1 1-1,-1-1 0,1 0 1,0 0-1,1 0 0,-1 0 1,1-1-1,0 1 1,1 0-1,-1-1 0,1 1 1,0-1-1,2 2-8,3 6-99,-6-9 87,1 0 0,-1 1 0,1-1-1,0-1 1,1 1 0,0 0 12,-3-2 4,1-1-1,0 0 1,0 0 0,0 0 0,0 0 0,0 0-1,0 0 1,0 0 0,0-1 0,0 1-1,0-1 1,0 1 0,0-1 0,1 0-1,-1 0 1,1 0-4,0 0 25,0 0 0,-1 0-1,1 0 1,0 0 0,0-1 0,0 1-1,0-1 1,0 0 0,0 0-1,-1 0 1,1 0 0,0 0 0,-1-1-1,1 1 1,-1-1 0,1 0 0,-1 0-1,0 1 1,0-1 0,0-1-1,0 1 1,1-2-25,36-33 139,-38 37-148,-1 0 1,1 0-1,-1 0 1,1 0-1,0-1 1,-1 1-1,1 0 0,0 0 1,-1 0-1,1 0 1,-1 0-1,1 0 1,0 1-1,-1-1 1,1 0-1,-1 0 1,1 0-1,-1 1 0,1-1 1,0 0-1,-1 0 1,1 1 8,11 5-116,8 9-57,-14-11-23,0 0 0,0 0 0,0 0 0,1-1 0,-1 0 0,6 2 196,5 1-987,1 0-901</inkml:trace>
  <inkml:trace contextRef="#ctx0" brushRef="#br0" timeOffset="5412.55">1525 373 3904,'-27'-21'1440,"27"21"-1120,5 0-96,-5 0-192,0 0-64,5 8-960,-1 0 544,-4 3-2016</inkml:trace>
  <inkml:trace contextRef="#ctx0" brushRef="#br0" timeOffset="5677.858">1809 227 2976,'-5'-8'846,"9"8"-384,-2 1-419,-1 1-1,1-1 1,-1 0-1,0 0 1,0 1-1,0-1 1,0 1-1,0-1 1,0 1-1,1 0-42,6 19 7,0 1 0,-1 0-1,-1 0 1,0 6-7,4 27 3,10 66-22,-14-89-76,4 14 95,3 19-17,-12-62 15,2 21-121,1-1-1,2 1 0,2 4 124,-5-18-379,-1-1 1,0 1-1,0 6 379,-1-5-299,6 13-1157</inkml:trace>
  <inkml:trace contextRef="#ctx0" brushRef="#br0" timeOffset="6490.863">2106 219 1248,'0'-8'448,"0"8"-352,5-4-32,-2 8-96,2 4 0,0 4 160,0 7-64,-2 4-96,6 7 0,-1 13 32,0 6 0,-3 1 64,5 7-32,-2 8-160,0 1 64,1-12 32,-1-5 32,2-3-448</inkml:trace>
  <inkml:trace contextRef="#ctx0" brushRef="#br0" timeOffset="6792.913">2111 502 3328,'13'-11'1216,"12"8"-928,23-10-96,-14 7-32,13-7-128,6 2-115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3:31:53.88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408 792 1408,'6'-11'88,"1"-1"0,0 1 0,1 0 0,0 1 0,0-1 0,1 2 0,1-1 0,7-4-88,55-34 64,10-11-107,4 4-1,34-15 44,16 1-46,40-10 46,-20 22 32,137-32-32,-95 41 48,1 8 0,3 9 0,76 3-48,-50 13-27,0 11 1,2 9 26,-58 7 53,-2 6 0,0 9 0,0 7-53,-13 6 288,-1 8 0,-3 6 0,-3 7 0,-2 6 0,77 51-288,-120-54 529,-2 4-1,60 55-528,177 169 658,-296-254-666,-3 0 126,-1 1 1,-3 2-1,0 1 0,-3 2 1,22 39-119,92 175 1834,-101-168-543,-42-84-1094,-6-11-429,-2-5-256,-2-18-18</inkml:trace>
  <inkml:trace contextRef="#ctx0" brushRef="#br0" timeOffset="1034.191">9267 1744 1984,'18'20'736,"4"-20"-576,8 12-32,-9-5 192,9 5-192,5 0-192,8 3 32,8 0 224,6 1-128,7 3-64,1 0-32,-4 0 160,-10-5-64,-4 2-32,-4-5 0,-4-3 96,-4 0-64,-10-4-96</inkml:trace>
  <inkml:trace contextRef="#ctx0" brushRef="#br0" timeOffset="1428.973">10120 1030 2816,'8'6'384,"-1"2"0,0-1 0,-1 1 0,1 1-384,0 3 43,-1 0 0,-1 0 1,0 0-1,-1 1 0,0-1 1,-1 1-1,-1 0 0,0 0 0,0 0 1,-1 0-1,-1 1 0,0-1 0,-1 0-43,-4 32 250,-2-1-1,-1 0 0,-4 6-249,9-37 23,-13 49 270,3-13-83,3 1-1,1 1 1,2 6-210,6-42-24,0 1 0,1 0 0,1-1 0,0 1 0,2-1 0,0 0 1,0 1-1,1-1 0,1 0 0,1-1 0,0 1 0,3 4 24,20 27-1072</inkml:trace>
  <inkml:trace contextRef="#ctx0" brushRef="#br0" timeOffset="86790.643">1 2273 736,'6'-5'62,"1"0"0,0 1 0,1 0 0,-1 0 1,1 1-1,0 0 0,2 0-62,23-11 130,68-32 834,1 6 0,9 1-964,213-54 248,-210 68-273,0 6-1,54 0 26,-103 12 51,486-33-64,-394 31 122,489 5 195,-626 4-314,154 7 412,0 8 1,150 33-403,-273-37 130,1 2 1,-2 3-1,0 2 1,-1 2-1,-1 2 0,-1 2 1,-1 2-1,-1 2 1,-2 3-1,-1 1 0,16 16-130,-40-32 48,36 31 856,-3 2-1,-1 3 0,14 22-903,-60-68 361,0 0 1,0 0-1,-1 0 1,0 1 0,0 0-362,-2-6 325,-1-1-154,0 0-54,-2 0-110,1 0-1,0 0 1,-1-1-1,1 1 1,0 0 0,-1-1-1,1 1 1,0-1-1,0 1 1,0-1 0,-1 0-1,1 1 1,0-1-1,0 0 1,0 0 0,0 0-1,0 0 1,0 0-7,-16-22 157,1 0-70,-5 9-3181,9 4-1268</inkml:trace>
  <inkml:trace contextRef="#ctx0" brushRef="#br0" timeOffset="87813.536">3800 1964 896,'-4'-15'1307,"4"14"-1099,5-2 352,-4 3-527,0 0 0,0 1 0,0-1 1,0 0-1,0 0 0,0 1 0,0-1 1,0 1-1,0-1 0,0 1 0,-1-1 0,1 1 1,0 0-1,0-1 0,-1 1 0,1 0 1,0 0-1,-1-1 0,1 1-33,13 21 259,-6-9-125,42 72 75,-28-46-18,-10-16-103,-1 2 1,0 0-89,3 8 63,5 15 608,11 46-671,-20-61 283,-8-24-166,1-1-1,-2 1 0,1 0 1,-1-1-1,0 1 1,-1 1-117,2 3 145,0 0 643,-2-13-771,0 1-1,0-1 1,0 0 0,0 1-1,0-1 1,0 1-1,-1-1 1,1 0-1,0 1 1,0-1-1,-1 0 1,1 1-1,0-1 1,0 0-1,-1 0 1,1 1-1,0-1 1,-1 0-1,1 0 1,0 1-1,-1-1 1,1 0-1,-1 0 1,1 0-1,0 0 1,-1 0 0,1 0-1,-1 1 1,1-1-1,-1 0-16,-15 3 115,9-1-119,-1-1 1,1 0 0,0 0-1,-4-1 4,-51 8 598,-17-3 1071,-110-2 102,172-3-3067,6 0 33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3:59:28.15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0 81 640,'5'-4'172,"0"0"0,1 0 1,-1 1-1,1-1 0,0 1 0,3-1-172,41-16 814,-38 16-874,16-4 67,-1 1 0,1 2 0,0 0 0,0 2 0,0 1 0,2 2-7,-2 0-25,-1 2-1,1 0 1,0 2-1,-1 1 1,1 2-1,-1 0 1,-1 2-1,0 1 1,0 1-1,12 8 26,42 25 253,-3 3 0,39 34-253,-41-24 141,-2 3 1,-3 4-1,-3 2 0,49 64-141,-51-53 10,123 148 178,-108-120 260,13 28-448,194 344 562,-191-313-474,42 79 323,-11 6 0,-10 9-411,-79-168 100,-5 1 0,-4 2 0,-3 0 1,-5 2-1,6 76-100,-14 12 365,-9 27-365,-2-90 24,0-53 236,4-1-1,2 0 1,9 29-260,-13-78 114,6 24 100,-2 1 0,-2 0 0,-2 1 0,-1 3-214,-3 99 598,-1-132-422,-1-1 0,0 0 1,0 1-1,-5 10-176,-1 11 180,1-5-63,0-1 1,-2 1-1,-1 0-117,9-27 32,-4 1-2165,5-3-267</inkml:trace>
  <inkml:trace contextRef="#ctx0" brushRef="#br0" timeOffset="519.697">2452 4202 3072,'-4'-3'1064,"4"4"-277,9 7 84,10 9-847,-12-11-72,-1 1 0,0 1 0,0-1 0,0 1 0,-1 0 0,0 0 0,0 1 1,-1-1-1,0 1 0,-1 0 0,2 5 48,4 26 2,-1 0 1,0 21-3,4 84 353,-9-105-200,2 42 264,7 77 153,-12-158-565,0 0 0,0 0-1,0 0 1,0 0 0,0 0-1,0 0 1,1 0 0,-1 0 0,0-1-1,1 1 1,-1 0 0,1 0-1,-1 0 1,0 0 0,1-1 0,0 1-1,-1 0 1,1 0 0,0-1-1,-1 1 1,1-1 0,0 1 0,0 0-1,-1-1 1,1 0 0,0 1 0,0-1-1,0 1-4,1-1 22,-1 0-1,0-1 0,1 1 1,-1 0-1,0 0 1,0-1-1,1 1 0,-1-1 1,0 1-1,0-1 0,0 0 1,0 1-1,0-1 1,0 0-1,0 0 0,0 0 1,0 0-1,0 0 1,0 0-1,0 0 0,0 0 1,-1 0-1,1-1-21,63-97 608,-17 24-400,-33 55-164,41-64-61,65-74 17,78-55-2928,-154 169 480</inkml:trace>
  <inkml:trace contextRef="#ctx0" brushRef="#br0" timeOffset="2896.591">1099 5676 896,'0'0'11,"0"-1"0,-1 1 0,1-1 0,0 1 0,0 0 1,0-1-1,0 1 0,0-1 0,0 1 0,0 0 0,0-1 0,0 1 0,0-1 0,0 1 0,0 0 1,0-1-1,0 1 0,0-1 0,0 1 0,0-1 0,0 1 0,1 0 0,-1-1 0,0 1-11,8 0 278,-7 0-258,-1 0 0,1 0 0,0 1 0,-1-1 0,1 0-1,0 0 1,-1 0 0,1 0 0,0 0 0,-1 0 0,1 0 0,0 0 0,-1 0-1,1-1 1,0 1 0,-1 0 0,1 0 0,0-1 0,-1 1 0,1 0-1,-1-1 1,1 1-20,-1 0 1,1 0 0,-1 0 0,0-1 0,0 1 0,0 0 0,0 0 0,1 0 0,-1-1 0,0 1 0,0 0 0,0 0 0,0-1 0,0 1 0,1 0 0,-1 0 0,0-1 0,0 1 0,0 0 0,0 0 0,0-1 0,0 1 0,0 0 0,0-1 0,0 1 0,0 0 0,0 0 0,0-1 0,0 1 0,0 0 0,-1 0 0,1-1 0,0 1 0,0 0 0,0 0 0,0-1 0,0 1-1,-12-7 17,-17 0 80,28 7-87,-12-2 169,1 1 0,-1 1 0,1-1 0,-1 2 1,0 0-1,1 1 0,-1 0 0,1 0 0,0 1 0,-5 3-179,1 0 63,0 0 0,1 2 0,0 0 0,0 0 0,1 2 1,0 0-1,-6 6-63,3-1-40,2 0 0,0 1 0,0 0 0,1 2 1,2-1-1,-1 2 0,2 0 0,1 0 0,0 1 1,1 0-1,1 0 0,0 5 40,6-16-44,1-1 0,0 1 0,0-1 0,1 1 1,0-1-1,0 1 0,1-1 0,0 1 0,2 3 44,-3-10-2,1 0-1,-1 0 0,1 0 1,0-1-1,0 1 0,0 0 1,0 0-1,0 0 0,0-1 1,1 1-1,-1 0 0,0-1 1,1 1-1,-1-1 0,1 0 1,0 1-1,-1-1 0,1 0 1,0 0-1,0 0 1,0 0-1,0-1 0,0 1 1,0 0-1,0-1 0,0 1 1,0-1-1,0 0 0,1 0 3,6 1 5,1 0 0,-1-1 0,1 0 0,-1-1-1,0 0 1,1-1-5,72-14 128,-44 8-148,-1 1 0,1 2 0,0 2 0,21 1 20,-42 2-22,1 2 0,-1 0 0,0 1 0,0 0 0,12 5 22,-22-5-6,0-1 0,-1 1 0,1 1 0,-1-1 1,0 1-1,0 0 0,0 0 0,0 1 1,-1 0-1,1 0 0,-1 0 0,-1 1 0,1 0 1,-1-1-1,0 2 6,0-1 84,0 1 0,-1-1 0,0 1 0,-1 0-1,1 0 1,-1 0 0,0 0 0,-1 0 0,0 0 0,0 0 0,-1 1 0,0-1 0,0 0 0,0 0 0,-1 1 0,0-1 0,-1 3-84,-1-1 141,0 1 1,-1-1-1,0 1 1,0-1-1,-1 0 1,0-1-1,-1 1 1,0-1-1,0 0 1,-1 0 0,0-1-1,-2 2-141,-6 4 115,0-1 0,-1 0 1,0-1-1,0-1 0,-1-1 0,-1 0 0,1-1 0,-1-1 1,-1-1-1,1 0 0,-1-1 0,0-1 0,0-1 1,-4-1-116,4-1-279,1 0 1,0-2 0,0 0 0,-1-1 0,1 0 0,0-2 0,0 0 0,1-1 0,-14-6 278,-9-7-2363</inkml:trace>
  <inkml:trace contextRef="#ctx0" brushRef="#br0" timeOffset="5013.481">1465 5948 640,'5'0'294,"-4"0"-299,-1 0 0,1 0 0,0 0 0,-1 0 0,1 0 0,0 0-1,-1 0 1,1 0 0,-1 0 0,1 0 0,0 1 0,-1-1 0,1 0 0,-1 0-1,1 1 1,-1-1 0,1 0 0,0 1 0,-1-1 0,0 1 0,1-1 5,5 5 249,0 0 0,0 1 0,0 0 0,-1 0 0,0 0 1,0 1-1,0 0-249,7 10 437,10 10-305,1 0 1,1-2 0,2-1-1,0-1 1,1 0-1,2-3 1,10 7-133,-31-23 4,-1 0 0,1-1 0,-1 1 0,1-2 0,0 1 0,3 0-4,-7-2 0,0 0 1,0-1-1,0 1 1,-1-1 0,1 0-1,0 0 1,0-1-1,0 1 1,0-1-1,0 0 1,-1 0-1,1 0 1,0 0-1,-1 0 1,2-1-1,0-1 16,-1 0 0,1 0 0,0-1 0,-1 1 0,0-1 0,0 0 0,0 0 0,0 0 0,-1-1 0,0 1 0,0-1 0,2-2-16,-2 0 53,1-1 0,-1 0 0,-1 1 0,1-1 0,-1 0 0,-1-1 0,1 1 0,-1-2-53,-1-5 70,1-1 0,-2 1 1,0-1-1,-1 1 0,-1 0 0,0 0 0,-1 0 1,0 0-1,-2-1-70,1 1 16,-2 0 0,0 1 0,0-1 0,-1 1 0,-10-12-16,14 22 14,1 0-1,-1 0 0,0 0 1,0 1-1,0-1 0,0 1 1,-1 0-1,1 0 0,-3 0-13,4 2 8,0-1 0,0 1-1,-1 0 1,1 0-1,0 1 1,-1-1 0,1 1-1,0 0 1,-1-1-1,1 2 1,-1-1 0,1 0-1,-1 1 1,1-1-1,-1 1-7,-3 2-2,-1 0-1,2 0 0,-1 0 0,0 1 0,1 0 0,-1 0 0,1 0 0,1 1 0,-3 2 3,-6 6 39,2 0 0,0 0 0,-4 7-39,14-18 5,-17 23 53,1 1-1,-5 13-57,19-33-35,0 1-1,1 0 1,0 0 0,0 1-1,0-1 1,1 0 0,1 1-1,-1 0 1,1-1 0,0 1-1,1 0 1,0 4 35,0-11-4,0 0 0,0-1 1,0 1-1,1 0 0,-1 0 0,0-1 0,0 1 0,1 0 0,-1 0 0,0-1 1,1 1-1,-1 0 0,1-1 0,-1 1 0,1 0 0,-1-1 0,1 1 1,-1-1-1,1 1 0,0-1 0,-1 1 0,1-1 0,0 0 0,-1 1 0,1-1 1,0 0-1,0 1 0,-1-1 0,1 0 0,0 0 0,0 0 0,-1 0 1,1 1-1,0-1 0,0 0 0,0 0 0,-1-1 0,1 1 0,0 0 0,0 0 4,3-1-18,-1 0 0,1 1 0,-1-2 0,1 1 0,-1 0 0,1-1 1,-1 1-1,2-2 18,15-11-23,-1-1 1,0 0 0,-1-2 0,11-12 22,62-78 152,-55 63-205,10-17 88,-32 40-41,1 1 0,1 1 0,1 1 0,0 0 1,17-12 5,-33 29 10,0 0 0,0 0 0,1 0 0,-1 1 0,0-1 0,0 0 0,1 1 0,-1 0 0,0-1 0,1 1 0,-1-1 0,1 1 0,-1 0 1,0 0-1,1 0 0,-1 0 0,1 0 0,-1 0 0,0 0 0,2 1-10,0 0 7,-1 0-1,0 0 1,0 0-1,1 0 1,-1 1-1,0-1 1,0 1-1,0-1 1,0 1-1,-1 0 1,2 1-7,4 6-5,0 1-1,0 0 1,-1 0-1,4 10 6,-7-14-1,11 23 18,-4-9-23,1-1 0,5 9 6,-11-22 6,-1 0 1,1 0 0,0-1-1,0 0 1,0 0-1,1 0 1,-1 0 0,1-1-1,4 2-6,-10-6 4,1 0 0,0 1 0,0-1 0,0 0 1,-1 0-1,1 1 0,0-1 0,0 0 0,0 0 0,0 0 0,-1 0 0,1 0 0,0 0 0,0-1 0,0 1 0,0 0 0,-1 0 0,1-1 0,0 1 0,0 0 1,0-1-1,-1 1 0,1 0 0,0-1 0,-1 1 0,1-1 0,0 0 0,-1 1 0,1-1 0,-1 1 0,1-1 0,-1 0 0,1 0 0,-1 1 0,1-1 1,-1 0-1,1 0-4,2-5-40,0 0 0,0-1 0,0 0 0,0-2 40,-2 5-23,6-18 42,-1 0 0,1-20-19,-3 18 72,1 1 0,6-15-72,-9 31 6,0 0 0,1 0 1,1 0-1,-1 1 1,1-1-1,0 1 0,0 0 1,2-2-7,-4 6 4,-1 1 0,1-1 0,0 0 0,0 1 0,0 0 0,0-1 0,0 1 0,0 0 0,0 0 0,1 0 0,-1 0 0,0 0 0,1 1 0,-1-1 0,0 1 0,1-1 0,-1 1 0,0 0 0,1 0 0,-1 0 0,1 0 0,-1 1 0,1-1 0,-1 1 0,0-1 0,1 1 1,-1 0-6,37 13 169,0 2 0,5 6-168,2-1 27,5 0-27,-47-19 3,1-1-1,0 1 1,0-1 0,0-1-1,0 1 1,0-1 0,0 1-1,0-1 1,0-1-1,0 1 1,0-1 0,0 0-1,0 0 1,0 0 0,3-2-3,-5 2 9,-1-1 1,1 1-1,-1 0 1,1-1 0,-1 0-1,1 1 1,-1-1-1,0 0 1,0 0 0,0-1-1,0 1 1,0 0-1,-1 0 1,1-1 0,-1 1-1,1-1 1,-1 0-1,0 1 1,0-1 0,0 0-1,0 0 1,-1 0-1,1 0 1,-1 0 0,1 1-1,-1-1 1,0-2-10,-1-13 17,-1 0 0,0 0 0,-1 0 0,-1 0 0,-1 1-1,-5-13-16,-12-25 125,-12-19-125,28 60 40,0 1-19,2 4 6,0 0 1,-1 0 0,0 0 0,0 1-1,-1 0 1,-3-4-28,8 11-1,1 1 0,-1-1 0,1 1-1,-1-1 1,1 0 0,-1 1 0,1-1-1,-1 1 1,0-1 0,1 1 0,-1 0 0,0-1-1,1 1 1,-1 0 0,0-1 0,0 1 0,1 0-1,-1 0 1,0 0 0,0 0 0,1 0 0,-1 0-1,0 0 1,0 0 0,1 0 0,-1 0 1,0 0-8,0 1 0,0-1 1,0 1-1,1 0 0,-1-1 0,0 1 1,0 0-1,1-1 0,-1 1 1,0 0-1,1 0 0,-1 0 0,1 0 1,0-1-1,-1 1 0,1 0 0,-1 1 8,-1 5-42,0-1 0,1 1 0,-1 0 0,1 0 0,1 2 42,-1 4 1,1 0 0,0 1 0,2-1 0,-1 0 0,1 0 0,1 0-1,-1-5 0,0 0 0,1 0 0,0 0 0,0 0 0,1-1 0,-1 0 0,2 0-1,-1 0 1,1 0 0,1 0 0,-5-5-1,0 0 1,1-1-1,-1 0 0,1 1 0,-1-1 0,1 0 1,0 0-1,0 0 0,-1 0 0,1 0 0,0 0 1,0 0-1,0-1 0,0 1 0,0-1 0,0 1 1,0-1-1,0 0 0,0 0 0,0 0 0,0 0 1,0 0-1,0 0 0,0-1 0,0 1 0,0-1 1,0 1-1,0-1 0,0 0 0,0 0 0,0 0 1,0 0-1,-1 0 0,1 0 0,0-1 1,8-5 39,-1-1-1,0 0 1,-1-1-1,0 0 1,6-7-39,-4 3 48,131-163-10,-137 171-32,0 0-1,0 1 1,0 0 0,0 0 0,1 0-1,0 0-5,-3 3 5,-1-1-1,1 1 0,0 0 0,0 1 0,0-1 0,0 0 0,0 1 1,-1-1-1,1 1 0,0-1 0,0 1 0,0 0 0,1 0 0,-1 0 0,0 0 1,0 0-1,0 0 0,0 1 0,0-1 0,0 1-4,4 2 26,1 0 0,-1 1 0,1-1 1,-1 1-1,0 1 0,0 0 0,-1-1 0,1 2 0,-1-1 0,1 2-26,16 15 118,96 75 26,-114-94-128,0-1 0,0 1 0,0-1 0,0 0 0,0 0 0,0 0 0,1-1 1,-1 1-1,1-1 0,-1 0 0,1 0 0,-1-1 0,4 1-16,-5-1 12,0-1 1,1 1-1,-1 0 0,1-1 1,-1 0-1,0 1 0,0-1 0,1-1 1,-1 1-1,0 0 0,0-1 0,0 0 1,0 1-1,0-1 0,-1 0 1,1-1-1,-1 1 0,1 0 0,-1-1-12,5-5 1,-2 0-1,1-1 1,-1 1-1,0-1 1,-1 0-1,0-1 1,0 1-1,-1-1 1,1-5-1,0-3-16,-1-1 0,0 1 0,-1-1 1,-1-13 15,-3-5 20,-2 1 0,-1 0 0,-2 1 0,-4-10-20,0-6 48,-3-31-48,13 73-13,0-1 0,1 0 0,1 0 0,0 0 1,0 0-1,1 0 0,0 1 0,1-3 13,4-9-63,1 1-1,0 0 0,4-3 64,-7 13-144,1 0 0,0 1 0,0 0 0,1 1 0,0-1 0,1 1 0,0 0 0,0 1 0,1 0 0,1-1 144,-10 28-554,-4 5 639,-2 5 159,2 0-1,0 0 1,2 3-244,2-23 12,0 1 0,1 0-1,0-1 1,1 1 0,0 0 0,0-1 0,1 0 0,1 0-1,-1 0 1,2 0 0,-1 0 0,1-1 0,1 0 0,0 0 0,0 0-1,1-1 1,0 1 0,7 5-12,-2-4 20,0 0 0,0-1 0,2 0 0,-1-1 0,1-1 0,0 0 0,0-1 0,1 0 0,2-1-20,-7-2 12,-1-1 0,1 0 0,-1 0-1,1-1 1,0-1 0,0 0 0,-1 0 0,1-1 0,0 0-1,-1 0 1,1-1 0,-1-1 0,1 0 0,-1 0-1,2-1-11,-2 0 4,-1 0-1,1-1 1,-1 0 0,0-1-1,2-1-3,-7 4 7,0 1 1,0-1-1,0-1 0,0 1 0,-1 0 1,1 0-1,-1-1 0,0 0 0,0 1 1,0-1-1,-1 0 0,1 0 0,0-3-7,0-5 37,-1 0-1,0 0 1,-1 0-1,0-1 0,-1 1 1,0 0-1,-1 0 0,-1 0 1,0 0-1,0 0 0,-3-5-36,4 14 60,1 0-1,-1-1 1,1 1-1,-1 0 1,0 0-1,0 1 0,0-1 1,-2-1-60,4 4 13,0 0 0,-1-1 1,1 1-1,-1 0 0,1-1 0,-1 1 1,1 0-1,-1 0 0,1-1 0,-1 1 1,1 0-1,-1 0 0,0 0 0,1 0 0,-1 0 1,1 0-1,-1-1 0,1 1 0,-1 1 1,1-1-1,-2 0-13,2 0 10,-1 1 1,0-1 0,0 1-1,0-1 1,0 1-1,0 0 1,0-1-1,1 1 1,-1 0 0,0-1-1,1 1 1,-1 0-1,0 0 1,1 0 0,-1 0-1,0 0-10,-1 4-7,0-1 0,1 1 0,-1 0 0,1-1 0,0 1 0,0 0 0,0 0 0,1-1 0,0 1 0,0 0-1,0 0 1,0 0 0,1 0 0,0-1 0,0 1 0,0 0 0,0 0 0,1-1 0,0 1 0,0-1 0,0 0 0,0 1 0,1-1 0,0 0 0,0 0 0,0-1 0,0 1 0,0-1 0,1 1-1,0-1 1,0 0 7,2 1-81,0-1-1,0-1 0,0 1 1,0-1-1,1 0 0,-1 0 1,0-1-1,1 1 0,0-2 0,-1 1 1,1-1-1,-1 0 0,1 0 1,0-1-1,-1 0 0,1 0 1,-1 0-1,1-1 0,-1 0 1,0 0-1,0-1 0,1 0 82,35-18-3029</inkml:trace>
  <inkml:trace contextRef="#ctx0" brushRef="#br0" timeOffset="5992.084">4685 3899 1984,'-7'-1'120,"1"1"-1,0-1 1,0 1 0,-1 0 0,1 0-1,0 1 1,0 0 0,0 0 0,0 1-1,0 0 1,0 0 0,0 0 0,0 0-1,0 1 1,-4 3-120,-6 4 42,0 0-1,1 1 1,0 0 0,-11 12-42,10-6-36,0 1 0,1 0 1,1 1-1,1 0 1,1 2-1,0-1 1,2 1-1,0 1 1,0 4 35,6-15 12,1-1 0,0 1 0,0 0 1,1 0-1,1 0 0,0 0 1,0 0-1,1 0 0,0 0 0,1 0 1,0 0-1,2 3-12,-1-6 10,0 1 0,0-1-1,1 0 1,0 0 0,1-1 0,0 1-1,0-1 1,1 0 0,0 0 0,0 0 0,0 0-1,1-1 1,0 0 0,0 0 0,1-1 0,0 1-10,0-1 11,0 0 1,1-1 0,0 0 0,0 0 0,0 0-1,0-1 1,1-1 0,-1 1 0,1-1 0,0-1 0,0 1-1,-1-1 1,6-1-12,-6 0 16,-1-1 0,0 1 0,1-2 0,-1 1 1,0-1-1,0 0 0,0 0 0,-1-1 0,1 0 0,0 0 0,-1-1 0,0 0 0,0 0 0,0 0 0,0-1 0,3-3-16,3-4 155,-1-1-1,-1 0 1,1 0 0,6-15-155,6-12 992,0-7-992,-18 36 99,-2 5 18,0 0 0,0 0 0,0 0 0,1 0 1,2-2-118,-4 6 49,-1 0 1,1 1-1,0 0 1,-1-1-1,1 1 1,0 0 0,0 0-1,0 0 1,0 0-1,0 0 1,0 0-1,0 1 1,0-1 0,0 1-1,0-1 1,0 1-1,0 0 1,0 0-1,2 0-49,14 1 80,0 1 0,0 0-1,0 2 1,4 1-80,-2 0 57,0-1 0,0-1-1,3-1-56,-16-1 10,1-1 0,-1-1 0,1 1 0,0-1-1,-1-1 1,1 1 0,-1-1 0,0-1-1,1 1 1,1-2-10,-1 0 6,0-1 0,0 1 0,-1-1 0,0 0 0,0-1-1,0 0 1,-1 0 0,0 0 0,0-1 0,0 0 0,3-6-6,-6 8 16,0 0-1,0 0 1,-1 0 0,1 0-1,-1-1 1,-1 1 0,1-1-1,-1 1 1,0-1 0,0 0-1,0 1 1,-1-1-1,0 0 1,0 0 0,-1 1-1,1-1 1,-1 0 0,-2-3-16,0-1 89,0 1 1,-1 0 0,0 0 0,-1 0-1,0 1 1,0-1 0,-1 1-1,0 0 1,0 1 0,-1-1-1,-3-1-89,9 7 12,0 1 0,-1-1-1,1 1 1,-1 0-1,1-1 1,-1 1 0,1 0-1,-1 0 1,0 0-1,1 0 1,-1 0-1,0 1 1,0-1 0,0 1-1,0-1 1,0 1-1,1-1 1,-1 1 0,0 0-1,0 0 1,0 0-1,0 0 1,0 0 0,0 0-1,0 1 1,0-1-1,0 1 1,0-1 0,0 1-1,1 0 1,-1 0-1,0 0 1,0 0 0,1 0-1,-1 0 1,1 0-1,-1 0 1,1 1 0,-1-1-1,1 1 1,0-1-1,-1 1 1,1-1-1,0 1 1,0 0 0,0 0-12,-11 20-1226,-7 21 1226,-4 5-1852,11-28 210</inkml:trace>
  <inkml:trace contextRef="#ctx0" brushRef="#br0" timeOffset="6673.898">5202 3956 3552,'-4'3'1264,"13"-1"-793,11 2 220,0 8 290,17 14-981,-16-12 8,17 11-8,-32-22 11,1 0 0,-1 0 0,1 0 0,-1-1 1,1 0-1,0 0 0,0-1 0,4 1-11,-6-2 25,0 0 1,0 0 0,0 0-1,0-1 1,3 0-26,-7 1 13,0 0 1,0 0-1,0 0 0,-1 0 0,1-1 1,0 1-1,0 0 0,0-1 0,-1 1 1,1 0-1,0-1 0,0 1 0,-1-1 1,1 1-1,0-1 0,-1 1 0,1-1 1,-1 1-1,1-1 0,0 0 0,-1 1 1,0-1-1,1 0 0,-1 0 0,1 1 1,-1-1-1,0 0 0,0 0 0,1 0 1,-1 1-1,0-1 0,0 0 0,0 0 1,0 0-1,0 0 0,0 0 0,0 0-13,-14-50 454,-1-1 42,10 29-383,1 0 0,2-1 0,0 1 0,2-23-113,0 38 18,1-1-1,0 0 1,0 1 0,1-1 0,0 1 0,1 0 0,-1 0 0,2 0 0,-1 0-1,1 0 1,0 1 0,1-1 0,-1 1 0,2 0 0,0-1-18,2 0-12,1 0 1,0 1 0,0 0-1,0 1 1,1-1-1,0 2 1,0-1 0,0 2-1,1-1 1,0 1-1,-1 1 1,2 0 0,7-1 11,-3 2-18,0 1 1,-1 0 0,1 1-1,0 1 1,0 0 0,0 1-1,0 1 1,-1 0 0,9 4 17,-7-2-19,0 1 0,0 1 1,0 0-1,-1 1 0,7 6 19,-16-10-4,-1 0 0,1 1-1,-1 0 1,-1 0 0,1 1 0,-1-1-1,0 1 1,0 1 0,-1-1-1,1 1 1,-1-1 0,-1 1-1,3 6 5,-6-12 12,1 0-1,-1 0 1,1 0-1,-1 0 1,1 0-1,-1 1 1,0-1 0,0 0-1,0 0 1,0 0-1,0 1 1,0-1-1,0 0 1,0 0-1,0 0 1,0 1-1,-1-1 1,1 0-1,0 0 1,-1 0-1,1 0 1,-1 0-1,1 1 1,-1-1-12,1-1 6,-1 0 0,1 0 0,-1 1-1,1-1 1,0 0 0,-1 0 0,1 0 0,0 1 0,-1-1 0,1 0 0,-1 0 0,1 0 0,-1 0 0,1 0-1,0 0 1,-1 0 0,1 0 0,-1 0 0,1 0 0,0 0 0,-1 0 0,1 0 0,-1-1 0,1 1 0,0 0-6,-2-1 2,1 1 0,-1-1 1,1 0-1,-1 0 0,1 0 1,0 0-1,-1-1 1,1 1-1,0 0 0,0-1-2,-8-9 84,1 0 0,1-1 0,0 0 0,0 0 0,1-1-1,1 1 1,0-1 0,1-1 0,0 1 0,0-5-84,0-10 104,0 0-1,2 0 1,1 1 0,2-21-104,0 32-32,1 0 0,1-1 0,0 1 0,1 1 0,0-1 0,2 0 0,0 1 0,0 0 0,6-8 32,-10 19-3,1 0 1,-1 1 0,0-1 0,1 1-1,0-1 1,0 1 0,0 0 0,0 0-1,1 0 1,-1 1 0,1-1 0,-1 1-1,1 0 1,0 0 0,0 0 0,0 0-1,0 1 1,4-1 2,-2 1-12,1 0 0,-1 0 0,0 1-1,1 0 1,-1 1 0,0-1 0,1 1 0,-1 1 0,0-1-1,0 1 1,0 0 0,4 2 12,48 21 36,-37-15-112,0-1 1,0-1 0,1 0-1,0-2 1,10 2 75,-27-8-196,0 1 1,0-1-1,0 0 1,0 0-1,1 0 1,-1-1-1,0 0 1,0 0 0,0 0-1,0 0 1,-1-1-1,1 0 1,0 0-1,-1 0 1,3-2 195,-1-1-365,1 0-1,-1 0 1,0 0 0,0-1 0,-1 0 0,0-1 0,0 1-1,0-1 1,1-2 365,24-43-2021</inkml:trace>
  <inkml:trace contextRef="#ctx0" brushRef="#br0" timeOffset="7681.341">1991 6679 3712,'-14'-13'1221,"14"13"-1198,1 0 1,-1 0-1,0 0 0,0 0 0,0 0 1,0 0-1,0 0 0,0 0 0,0-1 1,0 1-1,1 0 0,-1 0 0,0 0 1,0 0-1,0 0 0,0 0 0,0 0 0,0 0 1,0 0-1,0 0 0,0 0 0,0 0 1,0-1-1,0 1 0,1 0 0,-1 0 1,0 0-1,0 0 0,0 0 0,0 0 1,0 0-1,0 0 0,0-1 0,0 1 0,0 0 1,0 0-1,0 0 0,0 0 0,0 0 1,0 0-1,0 0 0,0-1 0,0 1 1,0 0-1,-1 0 0,1 0 0,0 0 1,0 0-1,0 0 0,0 0 0,0 0 1,0 0-1,0 0 0,0-1 0,0 1 0,0 0-23,1 2 33,1-1-1,-1 1 0,1-1 0,0 1 0,-1-1 0,1 0 0,0 0 0,0 0 0,0 0 0,0 0 0,1 0-32,18 11 69,52 52-325,54 60 256,-124-121 0,24 25 17,0 1-1,-2 2 1,-1 1 0,-1 0 0,-2 2-1,-1 0 1,10 27-17,-55-124-37,0-9 37,22 59-16,0 0 0,1-1 0,1 1 0,0-1 0,1 0 0,0 1 0,1-1 0,1 1 0,0-1 0,1 1 0,0 0 0,1 0 0,0 0 0,1 1 0,1-1 0,0 1 0,1 0 0,7-10 16,-8 15 3,0 0 0,1 0 0,0 0 0,1 1-1,-1 1 1,1-1 0,0 1 0,0 0 0,1 1 0,-1 0 0,1 0 0,0 1 0,0 0 0,2 1-3,-5 0-5,1 0 1,0 1-1,-1 0 1,1 0 0,0 1-1,-1 0 1,1 0-1,0 1 1,0-1-1,-1 2 1,1-1-1,-1 1 1,1 0 0,-1 0-1,0 0 1,1 1-1,-1 0 1,-1 0-1,1 1 1,2 1 4,-3-1 63,-1 1 0,1-1-1,-1 1 1,0-1 0,0 1 0,-1 0 0,0 1 0,1-1 0,-2 1 0,1-1 0,-1 1-1,0 0 1,0 0 0,0 0 0,-1 0 0,0 0 0,0 0 0,0 0 0,-1 1 0,0-1-1,-1 0 1,1 0 0,-1 0 0,-1 5-63,-2 2-8,0 0 1,-1-1-1,0 0 0,-1 0 1,0-1-1,-1 1 0,0-1 0,0-1 1,-2 1-1,1-1 0,-1-1 1,-1 0-1,0 0 0,0-1 1,0 0-1,-1 0 0,0-2 0,-1 1 1,0-1-1,0-1 0,0 0 1,0-1-1,-1 0 0,0-1 1,0 0-1,0-1 0,0 0 8,-31-1-1749</inkml:trace>
  <inkml:trace contextRef="#ctx0" brushRef="#br0" timeOffset="8029.452">2965 6442 2496,'67'-39'1563,"3"-7"-1563,-64 42 30,-1 0 1,1-1 0,-1 1 0,-1-1-1,1 0 1,0 0-31,-4 4 0,-1 0 0,1 0-1,0 0 1,-1 0 0,1 0 0,0 0 0,-1 0-1,1 0 1,-1 0 0,0 0 0,1-1-1,-1 1 1,0 0 0,0 0 0,1 0-1,-1 0 1,0-1 0,0 1 0,-1 0-1,1 0 1,0 0 0,0 0 0,0-1 0,-1 1-1,1 0 1,0 0 0,-1 0 0,1 0-1,-1 0 1,0 0 0,1 0 0,-1 0-1,0 0 1,0 0 0,1 0 0,-1 0 0,0 0 0,-5-3 7,0 0 0,0 0 0,0 1 0,0 0 0,0 0 0,-1 0 1,0 1-1,1 0 0,-1 0 0,0 0 0,0 1 0,0 0 0,0 1 1,-3 0-8,2-1 44,0 1 1,-1 1-1,1 0 1,0 0-1,0 1 1,0-1-1,0 2 1,0-1 0,0 1-1,0 1 1,1-1-1,-2 2-44,-1 2 78,1 0-1,-1 1 1,1 0 0,1 0-1,-1 1 1,1 1 0,1-1-1,0 1 1,0 0 0,1 1-1,-3 6-77,1 1 23,1-1 0,1 1-1,0 0 1,1 1 0,1-1 0,1 1-1,1 1-22,1-14 23,1 0 0,0 0-1,0 0 1,0 0-1,1 0 1,0 0-1,0 0 1,1 0-1,-1 0 1,1-1-1,0 1 1,1-1 0,-1 1-1,1-1 1,3 4-23,-3-5 10,1 0 1,-1 0 0,1 0 0,0-1 0,0 1 0,0-1 0,0 0-1,1 0 1,-1-1 0,1 1 0,0-1 0,0 0 0,0 0-1,0-1 1,0 1 0,0-1 0,0 0 0,1-1-11,7 2-50,0-2 1,1 0-1,-1 0 0,0-1 1,1-1-1,-1 0 1,0-1-1,0-1 0,-1 0 1,10-4 49,31-17-416</inkml:trace>
  <inkml:trace contextRef="#ctx0" brushRef="#br0" timeOffset="9696.782">4197 5752 2240,'-6'-7'203,"0"0"0,0 1 1,-1 0-1,0 0 0,0 0 1,0 1-1,-1 0 0,0 0 0,0 1 1,-4-2-204,6 4 104,1 0-1,-1 0 1,0 1 0,0 0 0,0 0 0,1 0 0,-1 1 0,0 0 0,0 0 0,0 1 0,0-1 0,0 1 0,1 0 0,-1 1 0,0-1 0,-4 3-104,-1 1 80,0 0 0,1 1-1,-1 0 1,1 1 0,1 0 0,-1 1 0,1 0 0,0 0 0,1 1 0,0 0-1,0 0 1,1 1 0,1 0 0,-1 1 0,1-1 0,1 1 0,0 0 0,1 0 0,-2 7-80,1-2 25,1 1 0,1 0 0,0 0 0,1 0 1,1 0-1,1 1 0,0-1 0,1 0 0,1 0 1,1 0-1,0 0 0,1 0 0,3 6-25,1 2 34,11 19-34,-16-36-22,1-1 1,0 0-1,1 0 1,0 0-1,0 0 0,0-1 1,5 5 21,-8-10-13,-1 0 0,1 0 0,-1 1 1,1-1-1,-1 0 0,1 0 0,-1 0 0,1-1 1,0 1-1,0 0 0,-1-1 0,1 1 0,0-1 1,0 1-1,0-1 0,0 0 0,0 0 0,-1 0 1,1 0-1,0 0 0,0 0 13,1-1-24,0 0 0,-1 0 0,1 0 0,0 0 0,-1-1 0,1 1 0,-1-1 0,1 1 0,-1-1 0,0 0 0,1 0 0,0-2 24,3-2-32,0-1 1,-1 0-1,0 0 0,0-1 0,-1 0 1,0 0-1,0 0 0,0-4 32,3-12 263,-2-1 0,-1 1 0,-1-1 0,-1 1 1,-1-1-1,-2-13-263,1 2 330,1 1 1,4-22-331,-5 56 2,0 1 1,0-1-1,0 0 0,0 0 0,1 0 0,-1 1 1,0-1-1,0 0 0,0 0 0,1 1 1,-1-1-1,0 0 0,1 0 0,-1 1 0,1-1 1,-1 0-1,1 1 0,-1-1 0,1 1 1,-1-1-1,1 1 0,-1-1 0,1 1 1,0-1-1,-1 1 0,1-1 0,0 1 0,0 0 1,-1-1-1,1 1 0,0 0 0,0 0 1,-1-1-1,1 1 0,0 0 0,0 0 0,0 0 1,-1 0-1,1 0 0,0 0 0,0 0 1,0 1-1,-1-1 0,1 0 0,0 0 1,0 0-1,-1 1 0,1-1-2,4 2-2,-1 1 0,1-1 1,-1 1-1,0 0 0,0 0 0,4 3 2,11 10-8,1-1-1,1 0 0,0-2 1,1 0-1,15 5 9,-30-15 17,0-1 1,-1 0-1,1 0 0,0-1 0,0 1 0,0-2 0,2 1-17,-5-1 14,0 0 0,0 0 0,-1 0 0,1 0 0,0-1 0,0 1-1,0-1 1,-1 0 0,1-1 0,-1 1 0,1-1 0,-1 1 0,1-1 0,0-1-14,-2 2 3,-1-1 0,1 1 0,-1-1-1,1 0 1,-1 0 0,0 0 0,0 0 0,0 0 0,0 0 0,0 0-1,0 0 1,-1 0 0,1 0 0,-1 0 0,1-1 0,-1 1 0,0-2-3,1-8 5,-1 1 1,0-1 0,-1 0-6,0-3 62,-5-60 175,3 47-184,1 0 0,1 0 0,1 0 0,2-1-1,1-5-52,-1 27-2,-1-1 0,1 1 0,0 0 0,1 0 0,0 1 0,0-1-1,0 0 1,1 1 0,0 0 0,0 0 2,-2 3-2,1 0 0,-1 1 0,1-1 0,0 1-1,-1-1 1,1 1 0,0 0 0,0 0 0,1 1 0,-1-1 0,0 0-1,0 1 1,1 0 0,-1 0 0,1 0 0,-1 0 0,1 1 0,0-1-1,-1 1 1,2 0 2,8 1 1,0 0-1,0 1 0,-1 0 1,1 1-1,-1 0 0,0 1 0,0 1 1,3 1-1,19 11-36,-1 0 0,5 6 36,-3 2-140,-32-23 156,-1 0 0,0 0 0,0 0 1,0 0-1,0 1 0,0-1 0,0 0 0,-1 1 0,1 0 0,-1-1 0,0 1 0,1 0 0,-1 1-16,-1-4 6,0 1-1,1 0 1,-1-1-1,0 1 1,0-1-1,0 1 0,0 0 1,0-1-1,0 1 1,0-1-1,0 1 1,0 0-1,0-1 0,0 1 1,0 0-1,0-1 1,0 1-1,-1-1 1,1 1-1,0-1 0,0 1 1,-1 0-1,1-1 1,0 1-1,-1-1 1,1 1-1,-1-1 0,1 0 1,0 1-1,-1-1 1,1 1-1,-1-1 1,0 0-1,1 1 1,-1-1-1,1 0 0,-1 0 1,1 1-1,-1-1 1,0 0-1,1 0 1,-1 0-1,1 0 0,-1 0 1,0 0-1,1 0 1,-1 0-1,1 0 1,-1 0-6,-2 0 4,0 0 1,0-1 0,0 0 0,0 1 0,0-1 0,1 0-1,-1 0 1,0-1 0,1 1 0,-2-1-5,-2-2 12,1-1 1,-1 0-1,1 0 1,0 0-1,0 0 1,1-1-1,-1 0 0,1 0 1,1 0-1,-1 0 1,1-1-1,-2-3-12,-1-9 34,0 0 0,1 0 0,-3-18-34,6 25-8,1-1 1,0 1 0,1-1-1,0 0 1,1 1-1,0-1 1,1 1 0,0-1-1,1 1 1,1 0-1,0 0 1,1 0 0,4-7 7,-8 16-3,1 0 1,-1 0 0,1 1 0,0-1 0,0 1-1,0-1 1,0 1 0,1 0 0,-1 0-1,1 0 1,-1 0 0,1 0 0,0 0-1,-1 1 1,1-1 0,0 1 0,0 0-1,0 0 1,0 0 0,0 0 0,1 1 0,-1-1-1,0 1 1,0 0 0,0 0 0,1 0-1,-1 0 1,1 1 2,10 1-17,0 1 0,0 1 0,0 1 0,0 0-1,11 6 18,21 7-1,-35-15 0,0 0-1,1-1 0,-1 0 0,1 0 1,-1-1-1,10-1 2,-18 0 2,-1 0 1,1 0-1,-1 0 1,1-1-1,-1 1 0,1-1 1,-1 0-1,1 1 1,-1-1-1,0-1 1,1 1-1,-1 0 0,0 0 1,0-1-1,0 1 1,0-1-1,0 0 0,0 1 1,0-1-1,-1 0 1,1 0-1,-1 0 1,1-1-1,-1 1 0,0 0 1,0 0-1,0-1 1,0 1-1,0-1 0,0 1 1,-1-1-1,1 1 1,-1-1-3,1-9 146,-1 0 1,0-1 0,-1 1 0,0 0-1,-1 0 1,0 0 0,-4-11-147,2 8 160,1-1 1,0 0-1,1 0 1,1-4-161,1 18-10,0 0 0,0 1 0,0-1 0,0 0 0,0 0 1,1 1-1,-1-1 0,1 0 0,-1 1 0,1-1 0,0 0 0,-1 1 0,1-1 0,1 0 10,-2 1-8,1 0 0,0 1 0,0-1 0,0 0 0,0 1 0,0-1-1,0 0 1,0 1 0,0 0 0,0-1 0,0 1 0,1 0 0,-1-1 0,0 1-1,0 0 1,0 0 0,0 0 0,0 0 0,1 0 0,-1 0 0,1 0 8,67 14-128,-54-12 132,0 1 22,0-2 0,8 0-26,-18-1 5,0 0 0,0 0 0,1-1 0,-1 0 0,0 0 0,0-1 0,0 1 0,0-1 0,1-1-5,4-1-30,-1-1 0,0-1-1,0 0 1,-1 0 0,1 0 0,-1-1 0,-1 0-1,1-1 31,-3 1 2,0 1 0,0-1 0,-1 0-1,0 0 1,0 0 0,0 0 0,-1-1-1,0 0 1,-1 0 0,2-7-2,-3 4 43,0-1 1,0 0-1,-1 0 0,-1 0 1,0 0-1,-1 0 0,0 0 1,-2-3-44,1-2-11,0 0 0,1-1 1,0-5 10,11 31-267,74 95-42,-72-91 309,144 166 67,-106-117-6,40 68-61,-77-109 11,-1 0 0,-1 0 1,-1 1-1,-1 0 0,3 12-11,-8-25 11,-1 1 1,0 0-1,-1-1 0,0 1 0,0 0 0,-1 0 0,0-1 1,0 1-1,-1 0 0,0 0 0,-1-1 0,0 1 0,0-1 0,-1 1 1,-2 3-12,1-3 26,-1-1 1,0 1-1,-1-1 1,0-1-1,0 1 1,-1-1-1,0 0 1,0 0-1,0-1 1,-1 0-1,0 0 1,0-1-1,-5 2-26,8-4 48,0-1 0,0 0-1,0 0 1,-1 0-1,1-1 1,-1 1 0,1-1-1,-1-1 1,0 1 0,1-1-1,-1 0 1,0 0 0,1-1-1,-1 0 1,1 0-1,-1 0 1,1-1 0,-1 1-1,1-1 1,0 0 0,0-1-1,0 1 1,0-1 0,0 0-48,-4-4-5,0 0 1,1-1 0,0 1-1,1-1 1,0-1 0,0 1 0,0-1-1,1-1 1,1 1 0,-1-1-1,1 0 5,-1-5-98,-1 0 0,2 0-1,0-1 1,1 1-1,1-1 1,0 0 0,0-6 98,2-3-385,1 0 0,0 0 1,2 0-1,4-16 385,-3 23-459,1 0 0,1 1 0,0 0 0,2 0 0,0 0-1,8-13 460,39-58-3327,-28 49 788</inkml:trace>
  <inkml:trace contextRef="#ctx0" brushRef="#br0" timeOffset="9990.933">5649 4557 3808,'-25'-38'2026,"-2"-3"-2026,24 36 59,-2-4 301,0 1 1,-1 0-1,0 0 0,-1 1 1,0 0-1,0 0 0,-1 1 0,1-1 1,-8-3-361,15 10 8,0 0 1,0 0 0,0 0 0,0 0 0,-1 0-1,1 0 1,0 0 0,0-1 0,0 1-1,0 0 1,0 0 0,0 0 0,0 0 0,0 0-1,-1 0 1,1 0 0,0 0 0,0 0-1,0 0 1,0 0 0,0 0 0,0 0-1,-1 0 1,1 0 0,0 0 0,0 0 0,0 0-1,0 0 1,0 0 0,0 0 0,0 0-1,-1 0 1,1 0 0,0 0 0,0 0-1,0 1 1,0-1 0,0 0 0,0 0 0,0 0-1,0 0 1,0 0 0,-1 0 0,1 0-9,1 7 111,5 12-118,0-6 1,1-1 0,1 1 0,0-2 0,1 1 0,1 0 6,52 55-101,-53-57 62,35 30-54,0-2 0,3-2 0,21 12 93,-14-10-639,-6-3-1211</inkml:trace>
  <inkml:trace contextRef="#ctx0" brushRef="#br0" timeOffset="11227.619">5611 4818 3904,'-1'-1'84,"0"0"0,0 0 0,0 1 0,0-1 0,0 0 0,1 0 0,-1 0 0,0 0-1,0 0 1,1-1 0,-1 1 0,1 0 0,-1 0 0,1 0 0,-1 0 0,1-1 0,0 1 0,-1 0 0,1-1-84,1 0 83,-1 0-1,1 0 1,-1 0-1,1 0 1,0 0 0,0 0-1,0 1 1,0-1 0,0 0-1,0 1 1,1-1-1,0 0-82,26-31 508,21-18-508,16-18 79,-50 51-132,8-9 49,-1 0 1,-2-1-1,7-14 4,-23 33 44,0 0 0,0 0 0,-2 0 0,1 0 0,-1-1-44,0 0 205,1 0-1,0 1 1,0 0-1,1 0 1,2-4-205,-6 12 4,1 0 1,0 0-1,-1 0 1,1 0-1,0 0 1,0 0-1,0 0 1,0 0 0,-1 1-1,1-1 1,0 0-1,0 0 1,1 1-1,-1-1 1,0 1-1,0-1 1,0 1-1,0-1 1,0 1-1,1 0 1,-1-1-1,0 1-3,1 0 15,0 0 0,1 1 0,-1-1 0,0 0 0,0 1 0,0-1 0,0 1 0,0-1 0,0 1 0,0 0 0,0 0 0,1 1-16,5 3 51,1 1 1,-1 1-1,0 0 1,0 0-1,0 1-51,40 39 19,3-2-1,42 29-18,-84-68 35,-1 0-1,1-1 1,0 0 0,1-1-1,-1 0 1,8 2-35,-15-5 3,1 0-1,-1 0 1,1-1 0,-1 0 0,1 1 0,-1-1 0,1 0 0,-1 0-1,1 0 1,-1 0 0,1-1 0,-1 1 0,1 0 0,-1-1 0,1 0 0,-1 0-1,0 0 1,1 0 0,-1 0 0,0 0 0,0-1 0,0 1 0,0-1 0,0 1-1,0-1 1,0 0 0,-1 1 0,1-1 0,0 0 0,-1-1-3,7-11 28,-1-1-1,-1-1 1,0 1 0,-1-1 0,0 0 0,0-9-28,9-29 270,-9 37-194,17-49 389,-18 57-337,0 0 1,0 0-1,1 0 1,0 1-1,1 0 1,0 0-129,-4 6 9,0-1 1,0 1-1,1 1 1,-1-1-1,1 0 1,-1 1-1,1-1 1,0 1-1,0 0 1,0-1-1,0 1 1,0 1-1,0-1 1,0 0-1,0 1 1,0 0-10,1-1 9,-1 0 1,1 1-1,0-1 1,-1 0-1,1-1 1,-1 1-1,1-1 1,-1 0-1,1 0 0,-1 0 1,1-1-10,4-5 45,-1-1 0,-1 0 0,0 0 0,0 0 0,-1-1 0,0 0 0,3-8-45,-8 16 16,4-7 40,0 1 0,0-1 0,1 1 0,0-1 0,1 1 0,0 1 0,0-1 0,0 1 0,1 0 0,0 0 0,1 1 0,-1 0 0,1 1 0,1-1-56,28-13-49,1 2 0,8-2 49,-15 8-6,-1-3-1,0 0 1,-1-2 0,0-1 6,125-81-321,-76 50 365,-55 33-39,0-1 0,-1-1 1,-1-1-1,11-12-5,-31 29 1,0 0-1,0 0 1,0 0 0,-1 0 0,1 0-1,0 0 1,0 0 0,-1 0 0,1 0-1,0-1 1,-1 1 0,1 0-1,-1 0 1,0-1 0,1 1 0,-1 0-1,0-1 1,0 1 0,0 0 0,0-1-1,0 1 1,0 0 0,-1-2-1,1 1-39,-1 1 0,0-1 0,0 1 0,0-1 0,0 0 1,0 1-1,-1 0 0,1-1 0,0 1 0,-1 0 0,1 0 0,-1-1 0,1 1 1,-1 0-1,0 0 39,-8-4-162,-1 0 1,1 1-1,-1 1 1,0-1-1,-2 1 162,9 2 73,-14-3 174,0 0 1,-1 1-1,0 0-247,14 3 83,-1-1 0,0 1 0,0 0-1,1 1 1,-1 0 0,0-1 0,1 2 0,-1-1-1,1 1 1,-1 0 0,-3 2-83,7-4-4,1 1 0,-1 0 0,1 0 0,-1 0 1,1 1-1,0-1 0,-1 0 0,1 1 0,0-1 0,0 0 0,0 1 0,0-1 0,0 1 0,0 0 1,0-1-1,1 1 0,-1 0 0,1-1 0,-1 1 0,1 0 0,-1 0 0,1-1 0,0 1 1,0 0-1,0 0 0,0 0 0,0-1 0,1 1 0,-1 0 0,0 0 0,1 0 0,-1-1 1,1 1-1,0 0 0,-1-1 0,1 1 4,0 1-23,1-1-1,-1 1 1,1-1 0,-1 1 0,1-1 0,0 0-1,-1 1 1,1-1 0,0 0 0,1 0 0,-1 0-1,0-1 1,1 1 0,-1-1 0,1 1 0,-1-1-1,1 0 1,-1 0 0,1 0 0,0 0 0,0 0-1,0 0 24,2-1-15,-1 0 0,1 0 0,-1 0 1,0-1-1,1 1 0,-1-1 0,1 0 0,-1 0 0,0-1 0,0 1 0,0-1 0,0 0 0,0 0 0,0 0 0,0-1 0,0 1 0,-1-1 0,0 0 0,1 0 0,-1 0 0,0-1 0,1-1 15,6-9 234,-1 0-1,-1-1 0,0 0 0,-1 0 0,2-6-233,3-8 865,-10 26-772,0-2-10,0 1-1,0-1 1,1 1 0,-1 0 0,2-2-83,-3 5-3,0 1 0,0-1 0,0 0 0,0 0 1,0 0-1,0 0 0,0 1 0,0-1 0,0 0 1,0 1-1,0-1 0,0 1 0,0-1 0,1 1 1,-1 0-1,0-1 0,0 1 0,1 0 0,-1 0 1,0 0-1,0 0 0,1 0 0,0 0 3,3 1-10,1 1 1,0-1-1,-1 1 0,1 0 0,-1 0 1,0 1-1,1 0 0,-1 0 0,2 2 10,9 7-32,0 1 0,2 3 32,-8-7-2,16 14-4,9 8-60,0 1 1,-3 1-1,9 14 66,3 10-257,-2 1-1,-3 2 1,-3 2 0,17 42 257,-43-81 67,-1-1 1,-1 1-1,-2 0 1,0 1-1,-1 0 1,-2 0-1,0 0 0,-1 21-67,-2-31 68,-1 0-1,-1 0 1,0 0-1,-1 0 1,0-1-1,-1 1 1,0-1-1,-1 0 1,-1 0-1,0 0 1,-1-1-1,0 0 1,-1 0-1,0-1 1,-8 8-68,5-7 80,-1 0 0,0-1 0,0-1 0,-1 0 0,-1-1 1,0 0-1,0-1 0,0-1 0,-1 0 0,0-1 0,0-1 1,-1 0-1,-4 0-80,8-2 4,0-1-1,0-1 1,0 0 0,0-1-1,0 0 1,-1-1 0,1 0 0,0-1-1,0 0 1,0-1 0,0-1 0,1 0-1,-1 0 1,1-1 0,0 0-1,0-1 1,1 0 0,0-1-4,-2-2-121,1 0 0,0 0 0,1-1 1,0 0-1,1-1 0,0 0 0,1 0 0,-7-13 121,9 13-226,0 1 0,1-1 0,1 0 0,0 0 0,0 0 0,1-1 0,1 0 0,0 1 0,1-1 0,-1-11 226,3 1-629,0-1 1,2 1-1,1 0 0,4-15 629,29-83-3873,-28 95 2928,5-19-1476</inkml:trace>
  <inkml:trace contextRef="#ctx0" brushRef="#br0" timeOffset="11540.063">6334 3971 5824,'0'0'57,"-1"0"0,1 0 1,0 0-1,0 1 0,-1-1 1,1 0-1,0 0 0,0 1 1,-1-1-1,1 0 0,0 0 0,0 1 1,-1-1-1,1 0 0,0 0 1,0 1-1,0-1 0,0 0 1,0 1-1,0-1 0,0 0 0,-1 1 1,1-1-1,0 0 0,0 1 1,0-1-1,0 0 0,0 1 1,0-1-1,1 0 0,-1 1 1,0-1-1,0 0 0,0 1 0,0-1 1,0 0-1,0 1 0,1-1 1,-1 0-1,0 0 0,0 1 1,0-1-1,1 0 0,-1 0 0,0 1 1,0-1-1,1 0 0,-1 0-57,7 11 215,-7-10-219,0 0 0,0 0 0,1 1 0,-1-1 0,0 0 0,1 0 0,-1 0 0,1-1 0,0 1 0,-1 0 0,1 0 0,0 0 0,-1 0-1,1 0 1,0-1 0,0 1 0,0 0 0,0-1 0,0 1 0,0-1 0,0 1 0,0-1 0,0 1 0,0-1 0,0 0 0,0 1 0,0-1 0,0 0 0,0 0 0,0 0 0,0 0 0,0 0 0,1 0 0,-1 0 0,0 0 0,0 0 4,1-1-6,0 1 0,0-1 0,0 1 0,0-1 1,0 0-1,0 0 0,-1 0 0,1 0 0,0 0 1,-1 0-1,1-1 0,-1 1 0,1 0 0,-1-1 1,1 1-1,-1-1 0,0 0 0,0 1 1,0-1-1,1-1 6,10-31 511,5-8 679,-13 34-1136,-1-1 1,0 1-1,0-1 1,-1 1-1,0-1 0,-1 0 1,0 0-1,0 0 1,-1 0-1,0 0-54,0 7-175,0 0-1,0 0 1,0 0 0,-1 0-1,1 0 1,-1 0 0,0 0-1,0-1 176,-11-16-4794</inkml:trace>
  <inkml:trace contextRef="#ctx0" brushRef="#br0" timeOffset="13841.363">43 5832 3904,'-33'27'1440,"28"-3"-1120,10 17-96,-10-10-32,0 20-160,5 9 64,10 13-64,3 20-32,17 10 32,18 4-192,33-1 96,43 6-32,19-5 32,37-7-3104</inkml:trace>
  <inkml:trace contextRef="#ctx0" brushRef="#br0" timeOffset="14560.585">7238 3068 5984,'-8'0'2208,"13"0"-1728,25 0-128,1 0 896,24 3-768,27 8 864,18 13-768,-1 11-224,-1 18-224,6 20-128,-6 23 32,-12 26-2848,-30 31 1536,-41 27-3872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4:22:34.92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235 153 1056,'-22'-33'1045,"15"25"-851,1 2 1,-1-1-1,0 1 0,0 0 0,-1 0 0,0 1 0,0 0 0,0 1 0,0-1 1,-4 0-195,-20-6 86,0 1 0,0 1 1,-1 2-1,0 1 1,-7 1-87,-40-1 410,-46 3-410,52 7 456,1 2-1,-19 7-455,11-2 369,-672 109-385,470-58 43,9-1 223,181-40-352,1 5 0,2 4-1,0 4 1,3 3-1,-81 49 103,107-53-41,-45 23-141,3 6 0,-31 27 182,96-58-34,1 1 1,2 2-1,1 2 0,1 1 0,2 2 0,-1 5 34,-19 34-138,2 3-1,-25 61 139,52-94-75,2 0-1,3 2 0,2-1 1,-2 19 75,3 4-85,2 1 0,1 57 85,7-2-161,6 23 161,15 126-276,-17-263 257,12 261-114,-7-190 250,-4-28 678,-1-56-694,0-1-21,0 0 6,-5 3-230,5-3-891</inkml:trace>
  <inkml:trace contextRef="#ctx0" brushRef="#br0" timeOffset="705.996">336 2513 2304,'1'-9'123,"-2"4"1874,-3 10-960,2-3-1045,1 1-1,1-1 0,-1 0 1,0 1-1,1-1 1,-1 0-1,1 1 0,0-1 1,-1 1-1,1-1 1,0 0-1,1 1 0,-1 1 9,0 11 160,-11 111-109,-12 170-107,19-231 111,0 33 76,4-65-141,-2 0-1,-1 1 0,-3 13 11,5-41 25,0 0 0,1 0 0,-1 0 0,2 0 0,-1 0 0,1 3-25,-1-8 16,0 0 0,0 0 0,1 0 0,-1 0 0,0-1 0,1 1 1,-1 0-1,1 0 0,-1 0 0,1 0 0,-1 0 0,1 0 0,-1 0 0,1-1 0,0 1 1,0 0-1,0 0-16,0-1 32,0 0 1,-1 1-1,1-1 1,0 0-1,0 0 1,0 0 0,-1 0-1,1 0 1,0 0-1,0 0 1,0 0-1,0 0 1,-1-1 0,1 1-1,0 0 1,0 0-1,-1-1 1,1 1-1,0-1 1,0 1 0,-1-1-1,1 1 1,-1-1-1,1 1 1,0-1-33,27-22 487,-1-2 0,-2-1 0,3-4-487,22-22 171,82-71-155,12 0-16,-112 97-1707,1 2 1,28-15 1706,-40 26-2731</inkml:trace>
  <inkml:trace contextRef="#ctx0" brushRef="#br0" timeOffset="5802.586">384 3818 2496,'0'0'67,"0"-1"0,-1 0 0,1 0-1,0 0 1,0 1 0,-1-1 0,1 0 0,-1 1 0,1-1 0,-1 0-1,1 1 1,-1-1 0,1 1 0,-1-1 0,1 0 0,-1 1 0,0-1-1,1 1 1,-1 0 0,0-1 0,1 1 0,-1 0 0,0-1 0,0 1-1,1 0 1,-1 0-67,-20-5-5,14 5 45,1 1 0,-1-1-1,1 1 1,-1 0 0,1 1-1,-1-1 1,1 1 0,0 1 0,0-1-1,0 1 1,0 0 0,0 0-1,1 1 1,-5 3-40,0 2 89,1 0 0,0 0 0,1 1 0,0 0 0,1 0 0,0 1 0,-2 4-89,-57 80 693,32-44-233,26-40-434,0 0 0,1 0-1,0 1 1,1-1 0,0 1 0,1 1 0,0-1 0,-2 9-26,2 4-58,-1 1 47,1 1 0,1-1 0,1 1 0,1 26 11,3-21 36,-1-10-39,1 0 0,1 0 0,2 6 3,0-5-20,3 10 8,4 11 12,-9-36 15,1 0 0,0 0 1,0-1-1,1 1 1,0-1-1,0 0 0,1 0 1,0 0-16,-2-3 43,1-1 0,0 1 0,-1-1 0,1 0 0,0 0 1,1 0-1,-1-1 0,0 1 0,1-1 0,-1 0 0,1 0 0,0-1 0,0 0 0,0 1 1,0-2-1,0 1 0,0 0 0,0-1 0,0 0 0,0 0 0,0-1 0,-1 1 1,1-1-1,0 0 0,2-1-43,13-4 139,0 0 1,0-2 0,0 0-1,-1-2 1,4-3-140,-19 11 21,19-11 17,0 0 0,-1-2-1,-1-1 1,0-1 0,8-8-38,-16 12 35,-1-1 1,1 0 0,-2-1 0,0 0-1,-1-1 1,-1 0 0,0-1 0,0-1-36,-8 14 1,1 1 1,-1 0-1,0-1 0,-1 1 1,1-1-1,0 1 1,-1-1-1,0 1 1,0-1-1,0 1 0,0-1 1,-1 0-1,1 1 1,-1 0-1,-1-4-1,0 2 3,0 1-1,0-1 1,0 0 0,-1 1-1,0 0 1,0 0-1,0 0 1,0 0 0,-1 0-1,-1-1-2,-5-3-30,1 1 0,-1 0 0,0 1 0,-1 0-1,1 0 1,-1 1 0,0 1 0,-1-1 0,-1 1 30,12 4-5,-11-4-140,12 4 144,0-1-1,0 1 0,0 0 0,-1 0 0,1 0 1,0 0-1,0 0 0,0 0 0,0 0 0,0 0 1,0-1-1,0 1 0,-1 0 0,1 0 0,0 0 0,0 0 1,0 0-1,0-1 0,0 1 0,0 0 0,0 0 1,0 0-1,0 0 0,0 0 0,0-1 0,0 1 1,0 0-1,0 0 0,0 0 0,0 0 0,0-1 1,0 1-1,0 0 0,0 0 0,0 0 0,0 0 1,0-1-1,0 1 0,0 0 0,0 0 0,1 0 0,-1 0 1,0 0-1,0-1 0,0 1 0,0 0 0,0 0 1,0 0-1,0 0 0,1 0 0,-1 0 0,0 0 1,0 0-1,0 0 0,0 0 0,0-1 0,1 1 1,-1 0-1,0 0 2,137-77 280,-111 63-256,105-51-190,-18 8 182,-56 29 587,-51 23-384,-7 2-119,1 3-98,-1 0 0,1 0-1,0 0 1,-1 0-1,1 0 1,-1 0-1,1 0 1,0 0 0,-1 0-1,1 1 1,0-1-1,-1 0 1,1 0-1,0 0 1,-1 0 0,1 0-1,0 1 1,-1-1-1,1 0 1,0 0-1,-1 1 1,1-1-1,0 0 1,0 0 0,-1 1-1,1-1 1,0 0-1,0 1 1,0-1-1,-1 0 1,1 1-2,-4 5 52,-1-1-1,0 1 1,0-1-1,0-1 1,-1 1-1,1-1 1,-1 1-1,0-2 1,-1 2-52,-15 14-128,3-2 11,19-17 120,-1 1 0,1-1 1,-1 1-1,1-1 0,-1 1 0,1-1 1,-1 1-1,1-1 0,0 1 0,-1 0 1,1-1-1,0 1 0,0-1 1,-1 1-1,1 0 0,0-1 0,0 1 1,0 0-1,0-1 0,0 2-3,-2 3-28,-1 3 154,3-8-118,0 0-1,0 0 1,0 1 0,-1-1 0,1 0 0,0 1 0,0-1 0,0 0 0,0 1 0,0-1 0,0 0 0,-1 1 0,1-1 0,0 0-1,0 0 1,0 1 0,-1-1 0,1 0 0,0 0 0,0 0 0,-1 1 0,1-1 0,0 0 0,0 0 0,-1 0 0,1 0 0,0 1 0,-1-1-1,1 0 1,0 0 0,0 0 0,-1 0 0,1 0 0,0 0 0,-1 0 0,1 0 0,0 0 0,-1 0 0,1 0 0,-1 0-8,1 0-59,0 0-5,0 0 16,0 0-27,0 0 49,0 0 68,0 0-31,8 8-150,2 16 182,-5-15-52,-1-1 0,1 1 0,-2 0-1,1 0 1,-1 0 0,0 1 0,-1-1 0,1 9 9,0-4-34,1 6 33,1 0-1,1 0 1,1 0-1,1-1 1,1 0-1,2 3 2,-6-13 1,0-1 0,1 0 0,-1-1 0,1 1 0,1-1 0,0-1 0,0 1 0,0-1 0,0 0 0,1 0 1,0-1-1,1 0 0,-1-1 0,5 2-1,-5-3 16,0 0 0,0-1 0,1 0 0,-1 0 0,0-1 1,1 0-1,-1 0 0,1-1 0,6 0-16,-9-1 13,0 0 0,0 0 0,0-1 0,0 1 0,0-1 0,-1-1 0,1 1 0,-1-1 0,1 0 0,-1 0 0,0 0 0,0-1 0,4-4-13,1-1 2,-1-2 0,0 0 0,0 0-1,-1 0 1,-1-1 0,0 0 0,0 0-1,-1-1 1,-1 0 0,0 0 0,-1-1 0,3-12-2,-2 1-8,-1-1 1,-2 1 0,0-1 0,-1 0 0,-2 0 0,-2-14 7,2 36-28,1 0 0,-1 0 1,-1 0-1,1 0 0,-1 0 0,1 0 0,-1 0 0,-2-2 28,4 5-4,-1 0-1,1 1 0,0-1 0,-1 0 1,1 0-1,-1 1 0,0-1 1,1 0-1,-1 1 0,1-1 0,-1 0 1,0 1-1,0-1 0,1 1 0,-1-1 1,0 1-1,0 0 0,1-1 0,-1 1 1,0 0-1,0-1 0,0 1 1,0 0-1,0 0 0,0 0 0,0 0 1,1 0-1,-1 0 0,0 0 0,0 0 1,0 0-1,0 0 0,0 0 1,0 1-1,1-1 0,-1 0 0,0 1 1,0-1-1,0 1 0,1-1 0,-1 1 1,0-1 4,0 2 0,0-1 1,0 0 0,0 1 0,1-1-1,-1 1 1,0-1 0,1 1-1,-1-1 1,1 1 0,0-1-1,-1 1 1,1 0 0,0-1 0,0 1-1,0 0 1,0-1 0,0 1-1,1-1 1,-1 1-1,7 33-35,0-14 27,1 1 0,1-1 0,1 0 0,1-1 0,10 15 8,-16-28-2,0 0 0,0-1 0,1 0 0,0 0 0,0 0 1,0-1-1,0 0 0,1 0 0,0-1 0,0 1 0,0-1 0,1-1 0,-1 0 0,1 0 0,0 0 1,0-1-1,0 0 0,0-1 2,-1 0 13,1-1 0,-1 0 0,0-1 0,0 0-1,0 0 1,0-1 0,0 1 0,0-1 0,0-1 0,-1 0 0,1 0 0,-1 0 0,1 0 0,-1-1 0,0 0-13,6-5 48,0 0 1,0-1 0,-1 0-1,0 0 1,-1-1-1,7-9-48,-11 12 34,1 0 1,0 1-1,0 0 0,7-5-34,-11 9 9,0 1 0,1 0-1,-1 0 1,0 0 0,1 0 0,0 0-1,-1 1 1,1-1 0,0 1 0,0 0-1,-1 0 1,1 0 0,3 1-9,-3 0 0,0 1 1,0 0-1,0 0 1,0 0-1,0 1 1,0-1-1,4 3 0,8 2-30,-4-1 5,22 6-30,0-1 1,26 4 54,-49-12 33,0-1 1,1 0 0,-1-1-1,0 0 1,1 0 0,-1-1 0,0-1-1,0 0 1,0-1 0,6-2-34,-6 2 67,0-2 0,-1 1 1,0-1-1,0-1 0,0 0 1,-1 0-1,0-1 1,0 0-1,-1-1 0,1 0 1,5-8-68,-11 12 7,0 0 0,0 0 1,0-1-1,-1 1 0,0 0 1,0-1-1,0 0 0,-1 0 1,1 1-1,-1-1 0,0 0 1,0 0-1,-1 0 0,0 0 0,1 0 1,-2 0-1,1 0 0,-1 0 1,1 0-1,-1 0 0,-1 0 1,1 0-1,-1 1 0,1-1 1,-2 0-1,1 1 0,-2-3-7,-3-5 39,0-1 0,-1 2 0,-1-1 0,0 1 0,0 0 0,-1 1 0,-1 0 0,0 1 0,0 0 0,-1 1 0,0 0 0,0 1 0,-1 0 0,0 1 0,0 0 0,-10-2-39,16 6-3,0 1-1,1 0 1,-1 0-1,0 0 0,0 1 1,0 0-1,0 1 1,1 0-1,-1 0 1,0 0-1,1 1 1,-1 0-1,1 0 0,-1 0 1,1 1-1,0 0 1,0 0-1,0 1 1,0 0-1,1 0 1,-3 2 3,-6 6-176,1 0 1,1 1 0,-1 1 0,2 0-1,0 1 1,1 0 0,-4 8 175,8-14-466,1 1-1,0 1 1,0-1 0,1 1-1,1 0 1,0 0 0,0 0-1,1 0 1,0 0 0,1 1-1,0-1 1,1 1 0,0-1 0,1 1-1,0-1 1,1 1 466,3 5-1904</inkml:trace>
  <inkml:trace contextRef="#ctx0" brushRef="#br0" timeOffset="6558.624">2008 4102 3968,'10'3'374,"0"-1"0,0 0-1,0 0 1,0-1 0,1 0 0,-1-1 0,0 0 0,4-1-374,-2 1 235,1-1-1,-1 2 1,0 0 0,0 0 0,9 3-235,23 9-7,-24-6 44,-1-2 1,1 0 0,0-1 0,0-1-1,13 0-37,-28-3 108,-1 0-1,0 0 0,0-1 0,1 1 0,-1-1 0,0 0 0,0 0 0,0-1 0,0 1 1,0-1-1,0 0 0,0 0 0,1-1-107,-3 1 53,1 0 0,-1-1 0,1 1 0,-1-1 0,0 1 0,0-1 0,0 0 0,0 1 0,-1-1 0,1 0 0,-1 0 0,0 0 0,0-1 0,0 1 0,0 0 0,0 0 0,-1-2-53,1-11 7,0 0 1,-2 0 0,0 0-1,-1 0 1,0 1 0,-2-1-1,-3-11-7,-2-13 107,-10-66 797,-9-46-144,14 90-683,0-1 123,-5-7-200,10 37-44,6 21-69,0 0 0,-1 0 0,0 0 1,-1 1-1,-6-11 113,10 21-22,1 0-1,-1 0 1,0 0-1,1 0 1,-1 0 0,0 0-1,0 0 1,0 0-1,0 0 1,1 1 0,-1-1-1,0 0 1,0 1-1,-1-1 23,2 1-5,-1 0-1,1 0 0,0 0 1,0 0-1,-1 0 1,1 0-1,0 0 0,0 0 1,-1 0-1,1 0 0,0 0 1,0 1-1,-1-1 0,1 0 1,0 0-1,0 0 1,-1 0-1,1 1 0,0-1 1,0 0-1,0 0 0,0 0 1,-1 1-1,1-1 0,0 0 1,0 0-1,0 1 1,0-1-1,0 0 0,0 0 1,0 1-1,0-1 0,0 0 1,-1 0-1,1 1 6,0 3-19,-1 0 0,1 0-1,0 0 1,0 1 0,0-1 0,0 0 0,1 1 19,4 15-19,0 1 0,2-1 1,0-1-1,2 1 0,8 14 19,1 4-56,15 32-170,19 26 226,-30-60 40,1-1 0,1-2 1,21 21-41,-30-38 33,1 0 0,0 0 0,2-2-1,0 0 1,0-1 0,1-1 0,7 2-33,-12-7 11,1 0-1,0-2 1,0 0-1,0 0 1,0-1-1,1-1 0,-1-1 1,1 0-1,0-1 1,16-2-11,-21 0-9,0 0 0,1-1 1,-1-1-1,0 0 1,0 0-1,0-1 0,-1 0 1,1-1-1,-1-1 1,0 1-1,0-2 0,-1 1 1,0-1-1,0-1 1,-1 1-1,1-2 0,-2 1 1,1-1-1,-1 0 1,-1 0-1,0-1 0,0 0 1,-1 0-1,0-1 1,0 1-1,-1-1 0,-1 0 1,0 0-1,-1 0 1,0-1-1,0-3 9,0-3-1,-2 0 0,0 0 0,-3-17 1,2 30-9,1-1-1,-1 1 0,-1-1 0,1 1 1,-1 0-1,0 0 0,0-1 1,0 1-1,-1 1 0,0-1 0,0 0 1,0 1-1,0-1 0,-5-3 10,8 8-3,-1-1 0,0 0-1,0 1 1,1-1 0,-1 1-1,0-1 1,0 1 0,0-1-1,0 1 1,0 0 0,0-1-1,0 1 1,0 0 0,0 0-1,0 0 1,0 0 0,0 0-1,0 0 1,0 0 0,0 0-1,0 0 1,0 0 0,0 0-1,0 1 1,1-1 0,-1 0-1,0 1 1,0-1 0,0 1-1,0-1 1,0 1 0,0-1-1,1 1 1,-1 0 0,0-1-1,0 1 4,-2 2 5,0 1-1,0-1 0,0 1 0,1 0 0,0 0 0,-1 0 1,0 3-5,-2 3 6,1 0 0,1 0 0,-1 0 0,2 0 1,-1 0-1,2 1 0,-1-1 0,1 1 0,1-1 1,0 1-1,1 0 0,0-1-6,0-3 6,0 0 0,1 0 0,-1 0 0,2 0 0,-1-1 0,1 1 0,0-1 0,0 0-1,1 0 1,0 0 0,0 0 0,0-1 0,1 1 0,0-1 0,0 0 0,0-1 0,0 1 0,6 2-6,-1-1-12,1-1 1,0 0-1,1-1 0,-1 0 0,1-1 1,-1 0-1,1-1 0,0 0 0,0-1 1,11 0 11,-6-2-339,0 0 0,0-1 0,0 0 0,-1-2 0,1 0 0,-1-1 0,0 0 0,0-1 0,2-3 339,34-20-2421</inkml:trace>
  <inkml:trace contextRef="#ctx0" brushRef="#br0" timeOffset="6981.813">2041 3570 4640,'-7'3'1728,"11"-6"-1344,9 3-96,0 0 544,7-8-512,11-3 224,16-8-320,19-8-352,20-4 64,8-12-1408,9-6 832,-3 0-3072</inkml:trace>
  <inkml:trace contextRef="#ctx0" brushRef="#br0" timeOffset="7677.742">43 5259 5632,'-4'3'2112,"12"9"-1664,6-4-96,-1 3-288,4 0-96,-4 5-128,3 6 96,-2 5-1024,-1 5 608,0 6-864,-1 4 768</inkml:trace>
  <inkml:trace contextRef="#ctx0" brushRef="#br0" timeOffset="8001.466">604 5189 6400,'-5'8'2368,"5"0"-1856,5 3-128,-2 0-352,2 5-96,-5 0-96,8 3 64,-4 0-416,-4 4 256,5-1-224,3 2 288,2 3-544,2 0 416,1 3 0,0 1 192,0-1-672,-1-3 416,-2 3-1504</inkml:trace>
  <inkml:trace contextRef="#ctx0" brushRef="#br0" timeOffset="8561.884">61 5110 4384,'1'-3'259,"3"-6"864,-4 8-1097,0 1 0,0 0-1,0 0 1,0 0-1,0 0 1,0 0 0,0-1-1,0 1 1,0 0 0,0 0-1,0 0 1,0 0 0,0 0-1,0-1 1,0 1 0,0 0-1,0 0 1,0 0-1,0 0 1,0 0 0,0 0-1,-1 0 1,1-1 0,0 1-1,0 0 1,0 0 0,0 0-1,0 0 1,0 0 0,0 0-1,-1 0 1,1 0-1,0 0 1,0 0 0,0 0-1,0 0 1,0 0 0,0 0-1,-1 0 1,1-1 0,0 1-1,0 0 1,0 0 0,0 1-1,0-1 1,-1 0-1,1 0 1,0 0-26,2 0 28,0 1 0,-1-1 0,1 1-1,-1 0 1,1-1 0,-1 1 0,1 0-1,-1 0 1,1 0 0,-1 0 0,0 1 0,1-1-1,-1 0 1,0 1-28,18 20 208,2 7 639,17 31-847,-1-1 449,1-6 129,-21-31-321,-1 0 1,-2 1-1,7 14-257,-4-1 163,-1 2 0,-2 0 0,-2 0 0,4 26-163,-11-40-268,-2 0 1,0 0-1,-1 0 1,-2 1-1,0-1 1,-2 0-1,-1 0 1,-2 9 267,-3-3-1110,0-6-1028</inkml:trace>
  <inkml:trace contextRef="#ctx0" brushRef="#br0" timeOffset="9838.274">306 5592 4480,'1'-1'1445,"21"-8"-537,-17 8-846,-1-1 0,1 0 0,-1 0 0,0 0 0,0-1 0,3-1-62,419-318-805,-418 316 806,5-4 24,0 0-1,0 0 0,-1-1 0,0-1 0,8-10-24,-19 20-74,0 2 222,-3 3 86,0 0 0,0 0 0,1 1 0,-1-1 0,1 0 0,-1 3-234,1 1 43,1 1 0,0-1 0,0 1 0,0-1 0,1 1 0,0-1 1,0 0-1,1 1 0,0-1 0,1 0 0,-1 0 0,1 0 0,0 0 0,1-1 0,0 1 1,0-1-1,0 0 0,1 0 0,0-1 0,0 1 0,0-1 0,1 0 0,0 0 0,0-1-43,-1 0 50,0 0-1,1-1 0,-1 0 1,1 0-1,-1-1 0,1 0 1,0 0-1,0 0 0,0 0 1,0-1-1,0 0 0,1-1 1,-1 1-1,0-1 0,0 0 1,0-1-1,1 1 0,-1-1 1,0 0-1,4-2-49,-6 2 14,-1 0 1,1 0-1,-1-1 1,1 1-1,-1-1 1,0 0-1,0 0 1,0 0-1,0 0 0,0-1 1,0 1-1,0-1 1,-1 0-1,1 0-14,1-2 15,0-1-1,-1 1 0,0-1 1,0 0-1,0 0 0,-1 0 1,0 0-1,0 0-14,3-12 11,-2 0 1,0 0-1,-2 0 0,0 0 0,0-8-11,-1-115 1072,0 141-1074,-1 0-1,1-1 1,0 1-1,0-1 0,0 1 1,0 0-1,0-1 1,0 1-1,0 0 0,0-1 1,0 1-1,0 0 1,0-1-1,1 1 0,-1 0 1,0-1-1,0 1 1,0 0-1,0-1 1,0 1-1,1 0 0,-1-1 1,0 1-1,0 0 1,1 0-1,-1-1 0,0 1 1,0 0-1,1 0 3,6 6-67,10 23-10,-14-24 78,53 109-177,72 104 149,-84-137-56,-4 2 1,4 21 82,-34-81 24,-2 1 0,-1 0 0,-1 0 0,1 8-24,-6-24 2,0 1 1,0 0-1,0 0 1,-1 0-1,-1 0 0,1 0 1,-1 0-1,-1 0 1,0 0-1,0 0 1,-1-1-1,0 1 1,-3 5-3,4-10-27,-1 1 1,0-1-1,0 0 1,0 0 0,-1 0-1,1 0 1,-1-1 0,0 1-1,0-1 1,0 0-1,0 0 1,-1 0 0,1-1-1,-1 0 1,-2 1 26,0 0 25,0-1 0,0 0-1,-1-1 1,1 0 0,-1 0 0,1 0 0,-1-1 0,1 0 0,-1-1 0,-2 0-25,0 0 53,0-1 0,0-1 0,1 1 0,-1-1 0,0-1 1,1 0-1,0 0 0,0-1 0,1 0 0,-1 0 1,1-1-1,0-1 0,0 1 0,1-1 0,0 0 1,-1-2-54,2 2-25,1-1 1,0 0-1,1 1 1,0-2-1,0 1 0,0 0 1,1-1-1,0 0 1,1 0-1,0 0 1,1 0-1,0 0 1,0 0-1,0 0 1,2 0-1,-1 0 1,1 0-1,0-1 1,1 1-1,1-5 25,3-5-190,0-1 0,1 2-1,2-1 1,-1 1 0,2 0 0,0 1-1,5-5 191,13-15-891,2 0-1,22-18 892,-37 38-248,0 1 0,-1-2 0,-1 0 0,-1 0 0,6-14 248,-13 22 86,0 0 0,-1-1 0,0 0 0,0 1 0,-2-1 0,1 0 0,-1-1 0,-1 1 0,0 0 0,-1-1 0,0 1 0,-1-4-86,-4-20 1280,-2-1 0,-1 1 0,-13-33-1280,-4 11 667,86 187-747,-45-97 52,2 0 1,1-2-1,4 3 28,68 88-402,4 6-1572,-75-99 1079,-11-17 251,0 0 0,0 1 0,-2 1 0,1 0 1,-2 0-1,0 0 0,0 2 644,0 4-2352</inkml:trace>
  <inkml:trace contextRef="#ctx0" brushRef="#br0" timeOffset="10153.304">1564 5282 4160,'-5'-8'252,"0"0"0,0 0 0,1-1 0,1 1 0,-1-1 1,1 0-1,1 1 0,-1-1 0,2-1 0,-1 1 0,1 0-252,1 5 59,0 1 0,0-1 0,0 0 0,0 0 0,1 1 0,0-1 0,-1 0 0,1 1 0,1-1 0,-1 1 0,0-1 0,1 1 0,0 0 0,1-2-59,1-1 34,0 1-1,0 0 0,0 0 1,1 1-1,0-1 1,0 1-1,0 0 0,2 0-33,6-4 16,0 0 0,0 2 0,1-1 0,0 2 0,0 0 0,15-3-16,-9 3 12,-1 2-1,1 0 0,1 1 1,12 0-12,-26 2 12,0 1 1,-1 0 0,1 0-1,0 0 1,0 1-1,-1 0 1,3 1-13,-6-2 23,1 1-1,-1-1 1,0 1-1,0 0 1,0 0-1,0 1 1,0-1-1,0 1 1,-1-1-1,1 1 1,-1 0 0,1 0-1,0 2-22,-2-3 16,0 1 0,0-1 0,0 1 0,0-1-1,-1 1 1,1 0 0,-1-1 0,1 1 0,-1 0 0,0-1 0,0 1 0,0 0-1,-1-1 1,1 1 0,-1-1 0,1 1 0,-1 0 0,0-1 0,0 1 0,0-1-1,0 0 1,0 1 0,-1-1 0,1 0 0,-2 2-16,-5 7-18,0-1 0,-1 0 0,0 0 0,-6 5 18,-30 24-1042,-2-2-1,-19 10 1043,-20 16-3856,60-44 2342,5-4 575</inkml:trace>
  <inkml:trace contextRef="#ctx0" brushRef="#br0" timeOffset="10685.178">2291 4906 4896,'-2'0'171,"0"0"0,0 0 0,0 1 0,0-1 0,0 1 0,0-1 0,0 1 0,1 0 0,-1 0 0,0 0 0,0 0 0,0 0 0,1 0 0,-1 1-171,-22 21 381,8-7-399,6-7 4,0 0 1,1 1-1,0-1 1,1 2-1,0-1 0,1 1 1,0 0-1,0 1 0,-4 11 14,6-11 24,0 1 0,1-1-1,1 1 1,0 0 0,-1 10-24,3-20 8,1 1 0,0-1 0,0 0 1,0 1-1,0-1 0,0 0 1,1 0-1,0 1 0,-1-1 0,1 0 1,0 0-1,1 1 0,-1-1 1,0 0-1,1-1 0,0 1 0,0 0 1,0 0-1,0-1 0,0 1 1,0-1-1,1 1 0,-1-1 0,1 0 1,1 1-9,-3-2 1,1 0 1,0 0 0,0 0-1,0 0 1,0-1-1,0 1 1,0 0 0,0-1-1,0 1 1,0-1-1,0 0 1,0 0 0,0 0-1,0 0 1,0 0-1,0 0 1,0 0-1,0-1 1,0 1 0,0-1-1,0 1 1,0-1-1,0 0 1,0 0 0,0 0-1,0 0 1,-1 0-1,1 0 1,0-1 0,-1 1-1,1-1 1,-1 1-1,1-1-1,1-2 0,1 0 1,-1-1-1,0 1 0,-1 0 0,1-1 0,-1 0 0,0 0 0,0 1 0,-1-1 0,1 0 0,-1 0 0,0 0 0,0-2 0,0-14 709,-1 0-1,-3-18-708,1-12 1468,-3 1-950,7 51-636,4 3 121,0 0 0,-1 0 0,0 1 0,0 0 0,0 0 0,0 0 0,-1 0 0,4 6-3,7 8 51,14 14-542,2-1 1,1-1-1,1-3 0,34 24 491,-32-29-2202</inkml:trace>
  <inkml:trace contextRef="#ctx0" brushRef="#br0" timeOffset="10971.304">2551 4676 5472,'-5'-10'848,"3"6"-382,0 0 0,0 1 0,1-1 0,0 0 0,-1 0 0,1 0 0,1 0 0,-2-4-466,3 11-6,0-1 0,0 1 0,0-1 0,0 1 1,0-1-1,0 0 0,1 0 0,-1 1 0,2 0 6,-2-1-1,46 57-9,69 103-1404,-95-131-36,1 1 442</inkml:trace>
  <inkml:trace contextRef="#ctx0" brushRef="#br0" timeOffset="12389.547">2465 5143 4576,'-1'-1'94,"0"0"-1,0 1 1,0-1 0,0 0-1,0 0 1,0 0 0,0 0-1,0 0 1,1 0 0,-1-1-1,0 1 1,1 0 0,-1 0-1,1 0 1,-1-1 0,1 1-1,0 0 1,-1-1 0,1 1-1,0-1-93,0 1 54,1-1 0,-1 0-1,1 0 1,-1 1-1,1-1 1,-1 0-1,1 0 1,0 1 0,0-1-1,0 1 1,0-1-1,0 1 1,0-1 0,1 1-1,0-1-53,43-46 300,-19 22-455,-1 0 0,-2-2 0,-1-1 0,-1-1 0,1-3 155,-13 16 276,-1 0-1,0-1 0,5-17-275,-10 24 284,-1-1-1,0 1 1,0 0-1,-1-1 1,-1 0 0,0 1-1,0-2-283,-2-25 669,2 16-46,-2-1 0,-2-13-623,3 21-110,1 15 107,0 0 1,0 0-1,0 0 1,0 0-1,1 0 1,-1-1-1,0 1 0,0 0 1,0 0-1,0 0 1,0 0-1,0 0 1,1 0-1,-1 0 0,0 0 1,0 0-1,0 0 1,0 0-1,0 0 1,1 0-1,-1 0 0,0 0 1,0 0-1,0 0 1,0 0-1,0 0 1,1 0-1,-1 0 0,0 0 1,0 0-1,0 0 1,0 0-1,0 0 1,1 0-1,-1 0 0,0 0 1,0 0-1,0 0 1,0 0-1,0 0 1,0 1-1,1-1 0,-1 0 3,18 18-67,-15-14 109,36 46-166,-2 1-1,-2 2 0,-3 1 0,-2 1 0,2 11 125,-29-63-553,-1-9 335,-2-13 126,0 17 33,0-12 7,0-22 72,3-17-20,-2 43 92,1 0 0,-1 0 1,2 0-1,0 0 0,0 0 0,0 1 0,4-5-92,-6 12 0,0 0 0,0 0 0,0 0 0,0 0 0,0 0 0,0 1 0,1-1 0,-1 1 0,1-1-1,-1 1 1,1-1 0,0 1 0,0 0 0,-1 0 0,1 0 0,0 0 0,0 0 0,0 0 0,0 0 0,0 1 0,0-1 0,0 1 0,0-1 0,1 1 0,1 0 12,0 1 1,0-1-1,0 1 1,0 0-1,-1 0 1,1 0 0,0 0-1,0 1 1,-1-1-1,1 1 1,-1 0-1,2 1-12,52 36 109,-37-24-60,0-1 0,1-1-1,0-1 1,3-1-49,-18-8-12,0 0 0,0-1 0,0 0 0,0-1 0,1 1 0,-1-1 1,0-1-1,1 1 0,-1-1 0,1 0 0,-1 0 0,0-1 0,1 0 0,-1 0 0,0 0 1,1-1-1,2-1 12,-6 1-32,1 1 0,-1-1 0,0 0 0,0 0 0,0 0 0,0 0 0,0-1 0,0 1 0,0-1 0,-1 0 0,0 1 0,1-1 0,-1 0 0,0-1 0,0 1 0,-1 0 0,1-1 0,-1 1 0,0 0 0,0-1 0,0 0 1,0 1-1,0-1 0,-1 0 0,1 1 0,-1-1 0,0 0 0,-1-1 32,0-8 74,0 1 1,-1 0-1,0 0 1,-1 0-1,-1 1 1,0-1-1,0 1 1,-1-1-75,0 1 328,-11-22 115,15 32-447,1-1-1,-1 1 0,0 0 0,0 0 1,0 0-1,0 0 0,0 0 0,0 0 1,0 0-1,0 0 0,0 1 1,0-1-1,-1 0 0,1 1 0,0-1 1,-1 0-1,1 1 0,0 0 0,-1-1 1,1 1-1,-2 0 5,3 0-2,0 0-1,-1 0 1,1 1 0,-1-1-1,1 0 1,0 0 0,-1 1-1,1-1 1,0 1 0,-1-1-1,1 0 1,0 1 0,0-1-1,-1 1 1,1-1 0,0 0-1,0 1 1,0-1 0,0 1-1,-1-1 1,1 1 0,0-1-1,0 1 1,0-1 0,0 1-1,0-1 1,0 1 0,0-1-1,0 1 1,0-1 0,1 1 2,0 16-13,1-12 9,0-1 1,0 1-1,0-1 1,0 0-1,1 0 1,-1 0-1,1 0 1,0 0 0,0-1-1,1 1 1,2 2 3,2 0 69,-1 0 1,1 0-1,0 0 1,0-1-1,5 2-69,-6-4 39,1-1-1,0 1 1,0-1 0,0 0-1,0-1 1,0 0 0,0 0-1,0-1 1,0 0 0,0 0-1,1-1 1,-1 0 0,0-1-1,0 0 1,0 0 0,1-1-39,7-2 55,0-2-1,0 0 1,-1-1 0,0 0 0,0-1 0,-1-1 0,3-2-55,-9 6 27,0-1 1,-1 0 0,0 0 0,-1 0 0,1-1-1,-1 0 1,-1 0 0,0 0 0,0-1 0,0 0-28,-2 2 14,-1 0 0,1 0 1,-1 0-1,-1 0 0,1-1 1,-1 1-1,0-1 0,-1 1 0,0 0 1,0-1-1,-1 1 0,1-1 1,-2-3-15,0 2 18,0 1 1,-1-1-1,1 1 1,-2 0-1,1 0 1,-1 0-1,0 0 1,-1 0-1,0 1 1,0 0-1,0 0 1,-1 0-1,0 1 1,-1 0-1,1 0 1,-1 0-1,-5-2-18,11 7-10,0 0-1,0 1 1,-1-1 0,1 1-1,0-1 1,0 1-1,-1-1 1,1 1-1,-1-1 1,1 1-1,0 0 1,-1 0 0,1 0-1,-1 0 1,1 0-1,0 0 1,-1 0-1,1 1 1,-1-1-1,1 0 1,0 1 0,-1-1 10,1 1-4,1-1 1,-1 1-1,1-1 1,-1 1-1,0-1 1,1 1-1,-1-1 1,1 1-1,0-1 1,-1 1 0,1-1-1,-1 1 1,1 0-1,0-1 1,-1 1-1,1 0 1,0-1-1,0 1 1,0 0-1,-1 0 1,1-1 0,0 1-1,0 0 1,0 0-1,0-1 1,0 1-1,0 0 1,1-1-1,-1 1 1,0 0-1,0 0 1,0-1-1,1 1 1,-1 0 0,0-1-1,1 1 1,-1 0-1,1-1 1,-1 1-1,1 0 4,4 7 5,1-1-1,0 1 0,0-1 0,0 0 1,1-1-1,0 1 0,1-1 1,0-1-1,6 4-4,14 8 73,2-2 0,4 1-73,-26-12-3,105 44 93,-54-25-55,-1 3 0,29 19-35,-78-40-34,1 1 1,-1 0 0,0 0-1,0 1 1,-1 0 0,0 1-1,0 0 1,3 4 33,-10-11 8,-1 0 0,1 0 0,-1 0-1,1 0 1,-1 0 0,1 0 0,-1 0 0,0 0 0,1 0 0,-1 0 0,0 0 0,0 0-1,0 0 1,0 1 0,0-1 0,0 0 0,0 0 0,0 0 0,0 0 0,0 0-1,-1 0 1,1 0 0,0 0 0,-1 0 0,1 0-8,-2 1-1,1 0-1,0 0 1,-1 0 0,0 0 0,1-1-1,-1 1 1,0-1 0,0 1 0,1-1-1,-1 0 1,0 0 0,-1 1 1,-3 1 66,1-1 1,-1 1 0,-1-1-1,1 0 1,0-1-1,0 0 1,-1 0 0,-5 1-67,10-2 30,0 0 0,-1 0 0,1 0 0,-1 0 1,1-1-1,0 1 0,-1-1 0,1 1 1,0-1-1,-1 0 0,1 0 0,-1-1-30,1 1 20,1 0 0,-1-1 0,1 0-1,0 1 1,-1-1 0,1 0 0,0 1 0,0-1 0,0 0-1,1 0 1,-1 0 0,0 0 0,1 0 0,-1-2-20,-2-8-65,1-1-1,0 1 1,1 0 0,1-1 0,0 1 0,0-1 0,1 1 0,1-1 0,0 1 0,2-5 65,6-44 27,-5 29 190,2-1-1,1 1 1,6-13-217,-12 36 11,1 1 1,1-1-1,0 1 0,0 0 1,0 0-1,1 0 0,0 1 0,1 0 1,4-5-12,-9 11-1,0 0 0,1 0 1,-1 1-1,0-1 1,0 0-1,1 1 1,-1-1-1,0 1 0,1-1 1,-1 1-1,0 0 1,1 0-1,-1-1 1,0 1-1,1 0 1,-1 0-1,1 0 0,-1 1 1,0-1-1,1 0 1,-1 0-1,0 1 1,1-1-1,-1 1 0,0-1 1,1 1-1,-1 0 1,0-1-1,0 1 1,0 0 0,6 3 28,-1 1 1,0 0 0,0 1-1,-1-1 1,1 1-29,-1 0 44,17 19 280,0 2 0,14 25-324,-12-17-936,18 19 936,-33-43-3173,-5-18-576</inkml:trace>
  <inkml:trace contextRef="#ctx0" brushRef="#br0" timeOffset="12585.198">3985 4094 5728,'-22'-23'2112,"19"4"-1632,3 0-128,-5 11-64,0 0-224,5 0-736,5-3 384,0-3-2816</inkml:trace>
  <inkml:trace contextRef="#ctx0" brushRef="#br0" timeOffset="12834.449">4766 3785 6048,'0'0'67,"0"-1"0,0 1 0,1 0 0,-1 0 0,0 0 0,0-1 0,1 1 0,-1 0 0,0-1 1,0 1-1,0 0 0,0 0 0,1-1 0,-1 1 0,0 0 0,0-1 0,0 1 0,0 0 0,0-1 0,0 1 0,0 0 0,0-1 0,0 1 1,0 0-1,0-1 0,0 1 0,0 0 0,0-1 0,0 1 0,-1 0 0,1-1 0,0 1 0,0 0 0,0-1 0,0 1 0,-1 0 0,1 0 1,0-1-1,0 1 0,-1 0 0,1 0 0,0-1 0,0 1 0,-1 0 0,1 0-67,-1-1 3,0 1 0,-1 0 0,1 0 0,0 0-1,0 0 1,0 0 0,-1 0 0,1 0 0,0 0 0,0 1 0,0-1-1,0 0 1,0 1 0,-1-1 0,1 1-3,-26 11-83,1 2-1,0 1 0,1 1 1,0 2-1,2 0 1,0 1-1,1 1 1,1 2-1,-17 21 84,31-34 84,1-1 0,0 1 0,0 1 0,1-1 0,0 1 0,-3 8-84,7-14 73,0 0 0,0-1 0,0 1 0,0 0 0,1 0 0,0-1-1,-1 1 1,1 0 0,1 0 0,-1 0 0,1 0 0,-1-1 0,1 1 0,0 0 0,0-1 0,1 1 0,-1 0 0,1-1 0,0 0 0,2 4-73,0-2 99,1 1 0,-1-1 0,2 0 0,-1 0-1,0-1 1,1 1 0,0-1 0,0 0 0,0-1 0,1 0 0,2 1-99,15 6 426,0-1 0,12 2-426,-20-7 108,4 2 28,-1-1 92,-1 1 0,4 2-228,-18-6 51,0-1 0,0 1 0,-1 0 0,1 0 0,-1 1 0,1-1 1,-1 1-1,0 0 0,0-1 0,0 1 0,-1 0 0,3 3-51,-4-4 22,-1-1-1,1 1 1,0 0 0,-1 0 0,1 0-1,-1 0 1,1-1 0,-1 1 0,0 0-1,0 0 1,0 0 0,0 0 0,0 0-1,0 0 1,-1 0 0,1 0 0,-1-1-1,1 1 1,-1 0 0,1 0 0,-1 0-1,0-1 1,0 1-22,-2 3-52,0-1 1,0 1-1,0-1 0,-1 0 1,1 1-1,-1-2 1,-2 3 51,-2 1-328,-1 0 0,0 0 0,0 0 0,-1-1 0,0-1 0,0 0 0,0 0 0,-1-1 0,0 0 0,1-1 0,-1 0 0,-4 0 328,1-3-2536,-1 0 0,-15-2 2536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3:19:35.59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110 740 896,'-84'47'416,"70"-38"-350,0 1 0,0 1 0,1 0 1,-4 4-67,-27 24-46,-6-4-69,-18 9 115,15-11 51,-13 12-51,-37 38 194,4 3 1,-53 63-195,75-74 753,-13 4-753,8-6 143,-8 15-143,27-24-52,-4 6-152,-48 63 204,62-64 251,-36 33-251,-48 50-123,-45 72 123,-68 122 549,65-32-620,88-142-124,-13 4 195,59-93 37,3 2 0,-26 69-37,-10 46-206,38-87 28,-22 79 47,28-70 273,-79 228 330,106-312-480,-52 184-627,-13 111 635,52-205-21,5 11 21,-87 454 1275,84-461-1169,4 18-106,-7 132-269,21-214 197,-10 205-64,10-156 0,3 130-201,10 16 337,-3-167-15,-5 301 39,-2-157-5,3-91-249,-8 372 428,-9-126-328,4-76 324,2 12-290,8-190 74,-1-36-109,-1 66 38,5-94 90,10 502 1,-7-517 16,29 399 463,-26-403-358,23 201 221,-11-141-351,10 23 11,43 145-101,-39-179 442,29 65-341,-3-30-201,74 188 7,35 126-67,-130-368 473,3-2 0,5-2 0,3-2 0,20 23-212,78 134-82,-68-107 46,-2-2 43,-26-41 302,4-2-1,24 24-308,-16-35 190,3-3 1,3-3-1,17 9-190,-1-1 304,40 35-262,-92-88-116,0 0-1,2-3 1,6 3 74,62 29 352,100 38-352,-29-15 54,-80-33-41,1-5-1,9-2-12,68 10 549,39-1-549,-155-34 209,188 26 53,-188-31-199,70 6-90,0-5 1,90-8 26,12-13 426,8-11-426,-167 15 21,-1-3 0,0-3-1,-2-3 1,1-3 0,-2-3-1,-1-2 1,-2-3 0,15-12-21,-9-1 92,16-16-92,-10 6 73,169-121 108,-189 137-161,-1-2 0,-2-3-1,30-32-19,321-378-171,-158 127 307,-45 54-165,-164 227-56,334-452 319,-329 437-228,109-176 4,97-192 113,-191 324-80,-5-2-1,2-18-42,30-105 35,-62 171-32,6-32 108,5-38-111,6-20 49,11-47-151,-12 44 44,-3 1 183,-6 0 0,-7-8-125,-6-5 146,-7-54-146,2-22 164,40-314 125,-45 525-264,12-263 85,0 3-140,21-29 337,6-59-144,-11 135-70,-2 13-122,-10 57-52,24-343 306,-41 395-124,-5-9-101,-3-201-25,7 220 178,9-158 60,6-30-102,-4 135-147,-4 79-29,-2 33 29,-3-3 36,1-40 42,0 22 46,-3 0 0,-4-17-88,-6-158-113,6 78 232,1 103-139,-2-35-126,-6-30 313,-2-27-206,-9-13 39,0 19-176,4-24 176,5 65 153,-14-47-153,16 96 71,-20-71 59,0 3-196,19 64 75,-22-132 41,8-2-50,-4-25 80,10 94-32,-9-36-77,9 62 229,-20-113-206,21 122 94,-4 0 0,-23-60-88,-24-56-53,54 164 47,-28-81 140,-25-42-134,42 118 39,-2 2 1,-24-30-40,-6-11-47,3 7 144,-3 4 0,-8-3-97,7 8-2,33 41-33,-1 1 0,-2 2 0,-1 0 0,-1 2 0,-1 2 0,-2 1 0,-10-5 35,-156-78-179,154 83 123,45 24 56,-99-51-35,-1 4 1,-28-4 34,104 42-17,-89-29-14,-27-2 31,-105-23-203,190 53 169,-1 3 1,1 2-1,-37 3 34,75 1 0,-110-2-59,1 6 0,-68 11 59,101 1-696,0 3 0,-16 9 696,-38 13-698</inkml:trace>
  <inkml:trace contextRef="#ctx0" brushRef="#br0" timeOffset="7942.931">4433 11896 2816,'-14'7'283,"0"1"-1,1 1 1,0 0 0,0 1-1,1 0 1,-5 6-283,-7 6 136,-2 0 1,-8 4-137,-7 5 15,-551 495-127,462-398 196,-5 18-84,73-73 275,3 3 1,-47 81-276,-174 344 1296,246-437-1153,-94 185 84,28-51-80,17-29-243,83-167 91,-15 22-1288,14-23 1188,0 0 0,0 0 0,0 0 0,0 0 0,0 0 0,0-1 1,0 1-1,0 0 0,0 0 0,-1-1 0,1 1 0,0-1 0,0 1 1,-1-1-1,1 0 0,0 1 0,-1-1 0,1 0 0,-1 0 105,-11-2-2053</inkml:trace>
  <inkml:trace contextRef="#ctx0" brushRef="#br0" timeOffset="8457.15">2163 14021 3552,'-9'-3'418,"-1"-2"186,10 5-585,-1 0 0,1 0 0,0 0 0,0 0 0,0-1 0,0 1-1,0 0 1,0 0 0,-1 0 0,1 0 0,0-1 0,0 1 0,0 0 0,0 0 0,0 0-1,0 0 1,0-1 0,0 1 0,0 0 0,0 0 0,0 0 0,0-1 0,0 1-1,0 0 1,0 0 0,0 0 0,0 0 0,0-1 0,0 1 0,0 0 0,0 0-1,1 0 1,-1 0 0,0-1 0,0 1 0,0 0 0,0 0 0,0 0 0,0 0-1,1 0 1,-1-1 0,0 1 0,0 0 0,0 0 0,0 0-19,-1-2 596,0 0-534,6 2-86,-3 0 11,0 1-1,0-1 0,-1 1 1,1 0-1,0 0 0,0 0 1,0 0-1,-1 0 0,1 0 1,0 0-1,-1 0 0,1 1 1,-1-1-1,1 0 0,-1 1 0,0 0 1,0-1-1,0 1 0,0 0 1,1 0 13,3 7-25,1 1 1,-1 0 0,0 2 24,2 8-57,0 0 0,-1 0 0,-1 0 1,-2 1-1,1 0 0,-1 15 57,-2 26 258,-4 37-258,1-50 109,1-32-59,-1 42 449,3 8-499,0-50 88,1 1 0,0-1 0,1 0 0,1-1 1,1 1-1,1 3-88,-4-17 18,-1 1 0,1-1 0,-1 0 0,1 0 0,0 1 0,0-1 0,0 0 0,1-1 0,-1 1 0,2 1-18,-3-3 33,1 0 1,-1 0-1,1 0 1,0 0-1,-1 0 1,1-1-1,-1 1 1,1-1-1,0 1 1,0-1-1,-1 0 1,1 1-1,0-1 1,0 0-1,0 0 1,-1 0 0,1 0-1,0-1 1,0 1-1,-1 0 1,1-1-1,1 0-33,6-2 102,-1 0 0,1-1 0,-1 0 0,0-1-1,0 1 1,4-5-102,45-38 237,-31 25-168,13-10 63,8-6-761,-3-1 1,35-40 628,-13-1-1339,-2 0-1871</inkml:trace>
  <inkml:trace contextRef="#ctx0" brushRef="#br0" timeOffset="12444.703">542 15288 2496,'-2'-2'208,"0"0"-1,0 0 1,0 0-1,0-1 1,0 1-1,1 0 1,-1-1 0,1 0-1,-1-1-207,-5-9 68,0 6 176,1 0 1,-2 0-1,1 1 1,0-1-1,-1 2 0,0-1 1,-1 1-1,1 0 1,-1 1-1,0 0 1,-1 0-245,-9-2 178,0 0 1,-1 1-1,1 1 0,-19-2-178,22 4 42,0 1 0,0 1-1,0 0 1,0 1 0,1 1 0,-15 3-42,22-3 22,-1 1 1,0 0 0,1 0-1,-1 1 1,1 0 0,0 0 0,0 1-1,0 0 1,1 0 0,0 1-1,0-1 1,-4 6-23,3-3 7,1 1 0,0 0 0,0 1 0,0 0 0,1 0 0,1 0 0,0 0 0,0 1 0,1 0 0,1 0 0,-1 1 0,2 0-7,1-5-1,0 0 0,0 0 0,1 0 0,0 0 0,0 0 0,1 0 0,0 0 0,0 0 0,1-1 0,-1 1 0,2 0 0,-1-1 0,1 1 0,0-1 0,0 0 0,1 0 0,-1 0 0,1 0 0,1 0 0,3 3 1,5 5 14,1-1-1,1 0 1,0-1-1,1 0 1,0-1 0,1-1-1,0-1 1,0 0-1,1-2 1,0 1 0,1-2-1,0-1 1,0 0-1,0-1 1,0-2 0,0 1-1,1-2 1,-1-1-1,1 0 1,10-3-14,-22 2 84,-1 0 0,0-1 0,0 0 0,0 0-1,-1-1 1,1 0 0,0 0 0,-1 0 0,0-1 0,0 0 0,0 0 0,1-1-84,-5 2 70,1 0 0,0 1 0,-1-1 0,1 0 0,-1 0 0,0 0 0,0-1 0,0 1 0,0 0 1,-1-1-1,0 1 0,1-1 0,-1 0 0,0 1 0,-1-1 0,1 0 0,-1 0 0,1 1 0,-1-1 0,0 0 0,-1 0 1,1 1-1,-1-4-70,-2-3 92,1 0 0,-2 1 1,1 0-1,-1 0 1,-1 0-1,1 0 1,-2 0-1,1 1 0,-1 0 1,0 0-1,-4-2-92,-14-15-246,-1 2 0,-20-15 246,-7-5-1383,21 17 76,-3 3-1663</inkml:trace>
  <inkml:trace contextRef="#ctx0" brushRef="#br0" timeOffset="13028.12">723 15171 4064,'10'-19'1931,"-7"15"-1504,-1 1 1,-1-1-1,1 0 1,0 0-1,-1 1 1,1-2-428,-2 4 576,1 2-468,0 0 0,0 0 0,0 0 0,0 0 0,0 0 1,-1 0-1,1 0 0,0 1 0,0-1 0,-1 0 0,1 0 0,-1 0 1,1 1-1,-1-1 0,0 0 0,1 2-108,0 0 227,68 201 726,-40-113-1058,-9-26-295,-3 2 0,-3 0 0,-3 0 0,-2 1 0,-4 1 0,-3 12 400,-1-48-370,0-16-144,-1 0 1,-1 0-1,0 0 0,-2 0 0,0 2 514,-8 14-1418</inkml:trace>
  <inkml:trace contextRef="#ctx0" brushRef="#br0" timeOffset="13426.44">736 15507 4576,'47'-52'2352,"-34"38"-1948,1 1-1,11-9-403,9-8 499,-11 9 101,0 1-1,6-3-599,-18 15 29,0 1 0,1 0 0,1 0 0,-1 1 0,14-4-29,-21 8-52,1 0-1,0 1 1,-1 0-1,1 0 1,0 1-1,0 0 1,0 0-1,0 0 1,0 1-1,-1-1 1,1 1-1,0 1 0,0-1 1,1 2 52,-4-2-23,-1 0 0,1 0 0,-1 0 1,0 0-1,1 1 0,-1-1 0,0 1 0,0 0 0,0 0 0,0-1 1,-1 1-1,1 0 0,0 1 0,-1-1 0,1 0 0,-1 0 0,0 1 1,0-1-1,0 0 0,0 1 0,0-1 0,-1 1 0,1 0 1,-1-1-1,1 1 0,-1-1 0,0 1 0,0 0 0,0-1 0,0 1 1,-1 0-1,1 0 23,-2 4 90,0 1 0,0-1 0,-1 0 0,0 0 0,0 0 0,0-1 0,-1 1 0,0-1-1,-1 0 1,1 0 0,-1 0 0,0 0 0,-1-1 0,1 0 0,-1 0 0,0-1 0,-1 1-90,-18 12 89,-1-2 0,-1 0 0,-18 6-89,41-19-15,-20 9-861,-22 6 876,39-14-439,0-1 0,-1 0 0,1-1 0,-1 0 0,1 0 0,-1 0 0,1-1 0,-1 0 1,0-1 438,-18-5-2763</inkml:trace>
  <inkml:trace contextRef="#ctx0" brushRef="#br0" timeOffset="14562.554">1231 15530 1984,'3'-1'209,"0"-1"0,0 1 0,0 0 0,0 0 0,0 0-1,0 0 1,0 0 0,0 1 0,0 0 0,0-1 0,1 1 0,-1 0 0,0 0-209,20-1 1348,29-11 332,-46 11-1484,0 0 0,0 1 0,1 0 0,5 0-196,-7 0 20,0 1 1,1-2 0,-1 1 0,0 0 0,0-1 0,0 0 0,0 0 0,1-1-21,-5 1-6,1 1 1,-1-1-1,0 0 0,0 0 0,0 0 1,0 0-1,0 0 0,0 0 0,0 0 1,0 0-1,0 0 0,0 0 0,0-1 1,-1 1-1,1 0 0,0-1 0,-1 1 1,1 0-1,-1-1 0,0 1 0,0-1 1,1 1-1,-1-1 0,0 1 1,0 0-1,0-1 0,0 1 0,0-1 1,-1 1-1,1-1 0,-1 0 6,1-6-59,-2 1 0,1-1-1,-1 1 1,0-1 0,-1 1 0,0-1 0,-1-2 59,2 7 28,0 0 1,1 0-1,-1 1 1,0-1-1,0 1 1,0-1 0,-1 1-1,1 0 1,-1 0-1,1 0 1,-1 0-1,0 0 1,1 0-1,-1 1 1,0 0-1,0-1 1,0 1 0,0 0-1,-1 0-28,0 0 48,0 1 0,0 0 1,0-1-1,0 1 0,0 0 0,1 1 0,-1-1 1,0 1-1,0 0 0,0 0 0,1 0 0,-1 0 0,0 0 1,1 1-1,0 0 0,-1 0 0,1 0 0,0 0 1,0 0-1,0 1 0,-2 1-48,1 0 13,1-1 0,0 1 1,0 0-1,0 0 0,0 0 1,1 0-1,-1 1 0,1-1 0,0 0 1,1 1-1,-1 0 0,1-1 0,0 1 1,0 0-1,0 0 0,1 0 0,-1 1-13,2 0 6,-1 0 0,1 0 0,0 0 1,0 0-1,1 0 0,0-1 0,0 1 0,0-1 0,1 1 0,-1-1 0,1 0 0,1 0 0,-1 0 0,1 0 0,1 1-6,9 12 98,0 0-1,2-1 1,0-1-1,1-1 1,0 0-1,1-1 1,16 9-98,-15-12 38,0-1 1,0 0 0,1-2 0,0 0 0,9 1-39,-20-6 88,0-1-1,0 0 1,0-1 0,0 0 0,0 0 0,0-1 0,0 0 0,0-1-1,0 1 1,0-2 0,0 0 0,-1 0 0,1 0 0,2-2-88,-7 2 3,0 0 0,0 0 0,0 0 0,0-1 0,-1 0 0,1 1 0,-1-1 0,1-1 0,-1 1 1,0 0-1,0-1 0,-1 0 0,1 0-3,1-2-5,-1 0 1,0-1-1,0 0 0,-1 1 1,0-1-1,0 0 1,-1 0-1,1 0 5,0-16 23,-1 0 0,-1 0 0,0 0 1,-4-17-24,1 10 99,-1-19 151,-6-21-250,7 54-21,-1 0 0,-1 0 0,0 1 0,-1-1 1,-1 2-1,-3-6 21,7 15-33,0 1 0,0-1 1,-1 1-1,1 0 0,-1 0 0,0 0 1,-1 1-1,1-1 0,0 1 1,-1 0-1,0 1 33,3 0-15,1 1 0,-1 0 0,0 0 0,0 0 0,0 1 0,0-1 0,0 0 0,0 1 0,0-1 0,0 1 0,0 0 0,0 0 0,0 0 0,0 0 0,0 0 0,0 0 0,0 0 0,0 1 0,0-1 0,0 1 0,0-1 0,0 1 0,0 0 0,0 0 0,0 0 0,0 0 0,1 0 0,-1 0 0,-1 1 15,3-1-20,-1-1 0,1 0 1,0 1-1,-1-1 0,1 1 0,0-1 1,-1 1-1,1-1 0,0 0 0,0 1 1,0-1-1,-1 1 0,1-1 0,0 1 1,0-1-1,0 1 0,0-1 0,0 1 1,0 0-1,0-1 0,0 1 0,0-1 0,0 1 1,0-1-1,0 1 0,1-1 0,-1 1 1,0-1-1,0 1 20,1 0-61,0 0 0,0 1 0,0-1 0,0 0 0,0 1 0,0-1-1,0 0 1,1 0 0,-1 0 0,1 0 61,2 2-178,0 0 1,1-1-1,-1 1 0,1-1 0,0 0 0,2 0 178,3 0-94,0 0-1,0-1 0,1-1 0,-1 0 0,0 0 0,0-1 0,1 0 1,6-2 94,18-5 220,28-10-220,-35 8 196,-14 5 79,0 1 0,1 0 0,-1 0 0,4 1-275,-16 3 25,0 0 1,0 1-1,0-1 1,1 0-1,-1 1 1,0-1-1,0 1 1,0 0-1,0-1 1,0 1-1,0 0 1,0 0-1,0 1 1,-1-1-1,1 0 1,0 1-1,-1-1 1,1 1-1,-1-1 1,1 1-1,-1 0 1,1 0-26,4 7 45,0 0 0,0 1 0,3 9-45,-5-12 18,7 17 241,4 17-259,10 19 93,-1-3-455,-15-36-502,0 1 0,2-1 0,0-1 0,11 15 864,0-7-2384</inkml:trace>
  <inkml:trace contextRef="#ctx0" brushRef="#br0" timeOffset="15479.6">2675 15331 4992,'-11'-7'354,"0"-1"1,-1 2-1,0-1 0,0 2 1,-1-1-1,0 2 0,0 0 1,0 0-1,0 1 0,0 1 1,-1 0-1,-2 1-354,5 0 21,-1 1 0,0 1 1,1 0-1,-1 1 0,0 0 0,1 0 1,0 1-1,0 1 0,0 0 0,0 1 0,0 0 1,1 0-1,0 1 0,-3 2-21,8-3-51,0-1-1,0 0 1,1 1-1,-1 0 1,1 0-1,0 0 1,1 1 0,-1-1-1,1 1 1,0 0-1,0 0 1,1 0 0,0 0-1,-1 3 52,2-4-55,0-1 0,0 1-1,0 0 1,0 0 0,1 0-1,0 0 1,0 0 0,0 0-1,1 0 1,-1 0 0,1 0 0,1 0-1,-1 0 1,0 0 0,1-1-1,0 1 1,0-1 0,1 1-1,0 0 56,1 0-58,1 1 0,0-1 0,0 0-1,0-1 1,1 1 0,0-1-1,0 0 1,0 0 0,0-1 0,0 0-1,1 0 1,0 0 0,-1-1-1,1 0 1,0 0 0,6 0 58,-6 0-8,0-2 0,1 1 1,-1-1-1,1 0 0,-1 0 1,0-1-1,1 0 0,-1 0 0,0-1 1,1 0-1,-1 0 0,0-1 1,0 0-1,-1 0 0,1 0 0,1-2 8,-3 1 134,0 0-1,0-1 1,-1 1-1,0-1 1,0 1-1,0-1 1,0-1-1,-1 1 1,1 0 0,-2-1-1,1 0 1,0 1-1,-1-1 1,0 0-1,-1 0 1,1-3-134,2-11 553,-2 0 1,0-1 0,-1 1 0,-1-6-554,1 33-44,1 1-1,0-1 0,0 0 0,1 1 0,0-1 1,0 0-1,2 2 45,0 3-17,0-1 22,1 0 0,0 0 0,1-1 0,0 0 0,1 0 0,-1-1 0,2 0 0,0 0 0,0-1 0,0 0 0,1 0 0,5 2-5,-7-5-1,1 0 0,0-1 0,0 0-1,0 0 1,1-1 0,-1 0 0,1-1 0,-1 0-1,1-1 1,0 0 0,0 0 0,0-1 0,0 0 0,0-1-1,7-1 2,-12 1 9,0 0 0,0-1 1,0 1-1,0-1 0,-1 0 0,1 0 0,-1 0 0,1-1 0,-1 0 0,0 0 0,0 0 0,0 0 0,-1-1 0,1 1 1,-1-1-1,0 0 0,0 0 0,0 0 0,0 0 0,-1-1 0,1 1 0,-1-1 0,0 1 0,-1-1 0,1 0 0,-1-1-9,4-15 126,-1 0 0,-2 0-1,0 0 1,-1 0-1,-1-11-125,0 29 27,-2-60 934,-2 1 1,-3 0-1,-3 0 0,-10-33-961,17 84 114,-7-32 50,-2 0 1,-14-29-165,22 64-282,2 11-20,3 18-73,0-17 379,2 17-187,1 0-1,1 0 1,2 3 183,3 14-212,15 43-1010,3-1 1,3-1 0,14 20 1221,-32-72-1247,2-1 0,0 0 0,2-1 0,0-1 0,22 21 1247,-26-29-2357</inkml:trace>
  <inkml:trace contextRef="#ctx0" brushRef="#br0" timeOffset="15867.802">2607 15468 4576,'0'1'80,"1"0"1,-1-1-1,1 1 0,-1-1 1,1 1-1,-1-1 0,1 1 1,-1-1-1,1 1 0,0-1 1,-1 1-1,1-1 0,-1 0 1,1 1-1,0-1 0,0 0 1,-1 0-1,1 0 0,0 1 1,-1-1-1,1 0 0,0 0 1,0 0-1,-1 0 1,1 0-1,0 0-80,22-3 86,-18 2 80,17-3-69,0-2-1,0 0 0,-1-1 1,16-8-97,81-43-217,-66 30-101,-34 20 257,43-23-1585,20-5 1646,-39 18-234,-24 10 410,0 1 0,1 0 0,-1 1-1,9-1-175,-24 7 119,0-1 0,-1 1 0,1 0-1,0 0 1,0 0 0,0 0-1,0 0 1,0 1 0,0-1 0,0 1-1,0 0 1,-1 0 0,1 0-1,0 0 1,-1 0 0,1 1 0,-1-1-1,1 1 1,-1-1 0,1 1-1,-1 0 1,0 0 0,0 0 0,0 1-1,0-1 1,-1 0 0,2 2-119,3 6 232,0 1 1,-1 1 0,-1-1 0,1 1 0,-2 0-1,1 0-232,3 13 49,2-2-145,8 28-538,-13-18-2764,-4-32 257</inkml:trace>
  <inkml:trace contextRef="#ctx0" brushRef="#br0" timeOffset="16158.472">3140 14983 5728,'-3'0'2112,"3"-8"-1632,-5 5-128,5-5-2528</inkml:trace>
  <inkml:trace contextRef="#ctx0" brushRef="#br0" timeOffset="16999.995">3731 15032 4480,'-9'4'281,"0"1"0,1-1 0,-1 2 0,1-1 0,0 1 0,1 0 0,-1 1 0,1 0 0,1 0 0,-1 1-281,-10 9 100,9-10 86,1 1 0,0 0 0,-5 8-186,9-12 67,1 0 0,0 0 0,0 0 1,1 0-1,-1 1 0,1-1 1,0 0-1,0 1 0,0-1 0,0 1 1,1 0-68,0 3 2,-1 1-1,2-1 1,-1 1 0,1-1 0,1 0-1,-1 1 1,1-1 0,1 0 0,0 0 0,0 0-1,0-1 1,1 1 0,0-1 0,1 0-1,-1 0 1,1 0 0,1 0 0,-1-1 0,1 0-1,0 0 1,4 2-2,-2-2 48,0 0 0,1-1-1,-1 0 1,1-1 0,0 0 0,0 0-1,0-1 1,2 0-48,-8-2 50,1 0 1,0-1-1,0 1 1,0-1-1,0 0 0,0 0 1,0-1-1,-1 1 0,1-1 1,0 0-1,0 0 1,0 0-1,-1 0 0,1 0 1,-1-1-1,1 0 0,-1 0 1,1 0-1,-1 0 1,0 0-1,2-3-50,-1 1 22,0 1 0,-1-1 0,1 0 0,-1 0 0,0 0-1,-1 0 1,1 0 0,-1-1 0,0 0 0,0 1 0,0-1 0,0 0 0,-1 0 0,0 0 0,0 0-1,0-1-21,-1-2 98,1 1-1,-2 0 0,1 0 0,-1 0 0,0 0 0,-1 0 0,1 0 0,-1 0 0,-1 0 0,1 1 0,-2-2-97,0 0 28,0 0 1,0 0-1,-1 1 0,0 0 1,0 0-1,0 0 1,-1 1-1,0 0 0,-1 0 1,1 0-1,-1 1 1,0 0-1,-1 0 0,1 1 1,-1 0-1,0 0 1,0 1-1,0 0 0,-4-1-28,3 3-134,0-1 0,-1 2-1,1-1 1,-1 1-1,1 1 1,-1 0 0,1 0-1,0 1 1,0 0-1,0 0 1,0 1 0,0 0-1,0 1 1,0 0-1,-3 3 135,10-6-426,4-1 382,1 0 0,-1 0 0,0 0 1,0 0-1,0 0 0,0 0 0,1 0 0,-1-1 1,0 1-1,0-1 0,0 1 0,1-2 44,4 1-29,23-9 240,1 0 1,-2-2-1,22-11-211,-12 5 337,25-7-337,-47 19 90,-1 1 1,1 0 0,0 2-1,0 0 1,14-1-91,-24 4 54,1 1 0,0-1 0,-1 1 0,1 1 0,-1-1 0,0 1 1,1 1-1,-1-1 0,0 1 0,0 0 0,-1 1 0,1-1 0,-1 1 0,4 4-54,1 0 0,-2 0 0,0 1 0,0 1 0,0 0 0,-1 0 1,-1 0-1,1 1 0,-2 0 0,0 0 0,0 1 0,-1 0 0,2 8 0,0 2-163,-1 0 0,-1 0 1,0 1-1,-2 0 0,-1 0 0,-1 17 163,-1-38-31,0 0 0,0 0 0,0 1 0,-1-1 1,1 0-1,-1 0 0,1 0 0,-1 1 31,1-3 10,0 1 1,-1-1-1,1 0 1,0 1 0,0-1-1,-1 0 1,1 1-1,0-1 1,-1 0 0,1 0-1,0 1 1,-1-1-1,1 0 1,0 0 0,-1 0-1,1 1 1,-1-1-1,1 0 1,0 0 0,-1 0-1,1 0 1,-1 0-1,1 0 1,0 0 0,-1 0-1,1 0 1,-1 0-1,1 0 1,-1 0 0,1 0-1,0 0 1,-1 0-1,1 0 1,-1 0 0,1-1-1,0 1 1,-1 0-1,1 0 1,0 0 0,-1-1-1,1 1 1,0 0-1,-1-1 1,1 1-11,-5-3 97,1 0 0,-1-1-1,1 0 1,0 1 0,0-1 0,1-1 0,-1 1-1,1 0 1,0-1 0,0 0 0,0 0 0,1 0-1,-1 0 1,1 0 0,1 0 0,-1 0 0,1-1-1,0 1 1,0-1 0,0-2-97,-1-4 8,1 0-1,0-1 1,1 1 0,0 0-1,1-1 1,1-3-8,0 8-49,0 1 0,0-1 0,1 0 1,-1 1-1,2-1 0,-1 1 0,1 0 0,0 0 0,0 0 0,2-1 49,4-4-219,-1 0 0,1 1 0,1 0 0,6-3 219,-11 9-41,0 1 1,0-1-1,1 1 0,0 1 1,0 0-1,0 0 0,0 0 0,0 1 1,4-1 40,3 0-55,1 0-1,-1 2 1,1 0 0,-1 0 0,1 1 0,-1 1 0,1 1 0,-1 0-1,0 1 1,0 0 0,0 1 0,0 1 0,8 3 55,-5 0-470,0 1-1,0 0 1,-1 1 0,-1 1 0,1 1 0,-2 0 0,0 1 0,0 0-1,-1 1 1,0 1 470,6 11-2821</inkml:trace>
  <inkml:trace contextRef="#ctx0" brushRef="#br0" timeOffset="17836.001">5087 15002 4896,'-19'-15'2192,"6"10"-2048,0 1 0,-1 1 0,1 0 0,-1 1 0,0 0 0,-10 1-144,11 2 98,0 0 0,-1 1 0,1 0 0,0 1 0,0 1 0,1 0 0,-1 0 0,1 2 0,-4 1-98,0 1 193,0 1-1,1 1 1,0 0-1,1 1 1,0 1-1,-8 8-192,16-13-68,1-1 0,-1 1 0,1 0 0,0 0 0,1 0 0,0 1 0,0 0 1,1 0-1,-1 1 68,2-5-26,1 0 0,0 0 0,0 1 0,1-1 0,-1 0 0,1 0 0,0 1 0,0-1 0,0 0 0,1 1 0,-1-1 1,1 0-1,0 0 0,0 0 0,1 0 0,-1 0 0,1 0 0,0 0 0,0 0 26,-1-1-38,1-1 0,0 0 1,-1 1-1,1-1 0,0 0 0,0 0 0,1 0 1,-1 0-1,0-1 0,0 1 0,1 0 0,-1-1 1,1 0-1,0 0 0,-1 0 0,2 1 38,1-1-69,0 0 1,-1 0-1,1-1 0,0 0 1,-1 1-1,1-2 1,0 1-1,-1 0 0,5-2 69,1 0-45,0-1-1,-1 0 1,0 0-1,1-1 1,-1-1-1,0 1 1,-1-1 0,1-1-1,3-3 46,-4 2 247,0 0-1,0-1 1,0 0-1,-1 0 1,-1-1-1,1 0 1,-1 0-1,-1-1 1,0 1-1,0-1 1,0 0 0,-2-1-1,1 1 1,-1-1-1,-1 0 1,0 1-1,0-1 1,-1 0-1,-1 0 1,0 0-1,0 0 1,-1-1-247,-4-1-31,3 14-94,2 7 46,2 1 69,1 0 0,0 0 1,0 0-1,1-1 0,0 1 0,0-1 0,1 0 0,0-1 0,0 1 0,1-1 0,0 0 0,0 0 0,4 2 10,3 3-35,0 0 0,1-2-1,1 1 1,0-2-1,0 0 1,11 4 35,-15-8-24,0-1 1,0-1 0,0 1-1,0-2 1,1 0-1,0 0 1,-1-1-1,1 0 1,0-1-1,-1 0 1,1-1-1,0-1 1,-1 0-1,8-2 24,-11 2-11,-1 0-1,1-1 0,-1 0 0,0 0 1,0-1-1,0 0 0,0 0 0,-1 0 1,1-1-1,-1 0 0,-1 0 1,1-1-1,-1 0 0,0 0 0,0 0 1,0 0-1,-1-1 0,0 0 0,0 0 1,-1 0-1,0 0 0,0-1 12,2-6 198,-1-1 0,0 0 0,-2 0-1,1 0 1,-2 0 0,0 0-1,-1 0 1,0 0 0,-1-1 0,-1 1-1,0 0 1,-1 0 0,-5-12-198,3 13 167,0-3-48,-2-1 0,0 1 0,-1 0 0,-3-4-119,8 16-2,1 1-1,-1 0 1,0 0-1,0 1 1,-1-1-1,1 1 0,-1-1 1,0 1-1,0 0 1,0 0-1,0 1 1,0-1-1,-1 1 0,1 0 1,-1 0-1,1 0 1,-1 1-1,-3-1 3,6 1 1,-1 1 0,1 0 0,-1 0 0,1 0 0,0 0 0,-1 0 0,1 0 0,-1 1 0,1-1 0,-1 1 0,1 0 1,0 0-1,0-1 0,-1 2 0,1-1 0,0 0 0,0 0 0,0 1 0,0-1 0,0 1 0,0-1 0,0 1 0,1 0 0,-1 0 0,1 0 0,-1 0 0,1 0 0,0 0 0,0 0 0,0 0 0,0 1 0,-1 0-1,0 3 22,0 0 0,1-1 0,-1 1 0,1 0 0,0 0 1,1 0-1,-1 0 0,1-1 0,1 1 0,-1 0 0,1 0 0,0 0 0,0 1-22,3 6-90,1-1 1,0 0-1,1-1 0,0 1 1,0-1-1,1 0 0,1 0 90,6 7-322,1 0 0,1 0 0,8 6 322,-7-10-639,0-1 0,1-1 1,0 0-1,0-1 0,2-1 1,-1-1-1,1 0 0,9 1 639,39 10-1770</inkml:trace>
  <inkml:trace contextRef="#ctx0" brushRef="#br0" timeOffset="19412.675">1206 16471 3904,'5'-15'3301,"-5"15"-3276,0 0-1,0 0 0,0 0 1,0 0-1,0-1 1,0 1-1,0 0 0,0 0 1,0 0-1,0 0 1,0 0-1,0-1 1,0 1-1,0 0 0,0 0 1,-1 0-1,1 0 1,0 0-1,0-1 0,0 1 1,0 0-1,0 0 1,0 0-1,0 0 1,0 0-1,0 0 0,-1 0 1,1 0-1,0-1 1,0 1-1,0 0 1,0 0-1,0 0 0,0 0 1,-1 0-1,1 0 1,0 0-1,0 0 0,0 0 1,0 0-1,0 0 1,-1 0-1,1 0 1,0 0-1,0 0-24,0 0 17,0 0 1,-1 0-1,1 0 1,0 0-1,0 0 0,0 0 1,-1 0-1,1 0 1,0 0-1,0 0 1,0-1-1,0 1 0,-1 0 1,1 0-1,0 0 1,0 0-1,0 0 0,0 0 1,-1-1-1,1 1 1,0 0-1,0 0 1,0 0-1,0 0 0,0 0 1,0-1-1,0 1 1,0 0-1,-1 0 0,1 0 1,0-1-1,0 1 1,0 0-1,0 0 1,0 0-1,0-1 0,0 1 1,0 0-1,0 0 1,0 0-1,0-1 0,0 1 1,0 0-1,1 0 1,-1 0-18,0-6 162,0 5-142,0 0 0,0 0 1,0 0-1,0 0 0,0 0 0,0 0 1,0 0-1,-1-1 0,1 1 1,0 0-1,0 0 0,-1 0-20,0 0 41,0 1-1,1-1 1,-1 1-1,0-1 1,0 1 0,1 0-1,-1 0 1,0-1-1,0 1 1,1 0 0,-1 0-1,0 0 1,0 0-1,0 0 1,0 0 0,1 0-1,-1 0 1,0 0-41,-5 20-48,3-7-69,1 0 1,0 0-1,0 0 1,1 12 116,-1 18-94,-2-10-18,0 0 0,-2-1 0,-1 0 0,-12 30 112,16-54 40,-1-1-1,0 1 1,-5 6-40,8-12-45,0 0-1,-1 0 0,1 0 1,-1 0-1,0 0 0,0-1 1,1 1-1,-1-1 0,0 1 1,0-1-1,-1 0 0,1 1 1,0-1-1,0 0 0,-2 0 46,2-1-18,1 0 0,0 0 0,-1 0 0,1 0 0,0 0 0,-1-1-1,1 1 1,0 0 0,-1-1 0,1 1 0,0-1 0,0 1 0,-1-1-1,1 0 1,0 0 0,0 1 0,0-1 0,0 0 0,0 0 0,0 0-1,0 0 1,0 0 0,0-1 18,-2-2-41,0 0-1,0 0 0,1-1 1,0 1-1,0-1 1,-2-3 41,1-6 21,-1 0 0,2 1 0,0-1 0,0 0 0,2 0 0,0-11-21,1-4 116,2 0-1,5-23-115,-5 39 12,0 0-1,2 0 1,-1 0 0,2 1-1,-1 0 1,2 0 0,0 0-1,0 1 1,1 0 0,0 0-1,2-1-11,-4 5 2,1 0-1,0 0 0,0 1 0,1 0 0,0 0 0,0 1 0,0-1 0,1 2 0,0 0 0,-1 0 0,1 0 0,1 1 0,-1 0 0,0 1 0,9-1-1,-6 2-1,1 0 0,0 1 0,-1 1 0,1 0 1,0 0-1,-1 2 0,1-1 0,-1 2 0,0 0 0,4 1 1,-7-1-126,0 1 1,-1-1-1,1 1 0,-1 1 1,0 0-1,0 0 0,-1 0 1,1 1-1,-1 0 0,-1 0 1,0 1-1,0 0 0,3 5 126,4 8-521,-1 1 0,-1 1-1,-1 0 1,-1 0-1,-1 1 1,-1 0-1,-1 0 1,-1 1-1,0 9 522,-6-8-981,-5-9 309</inkml:trace>
  <inkml:trace contextRef="#ctx0" brushRef="#br0" timeOffset="20047.456">1198 16836 3712,'61'-27'1946,"29"-17"-1946,14-17 299,45-36-299,-66 44 117,44-17-117,-114 63 7,-1 0 0,1 0-1,-2-1 1,1-1-1,-1 0 1,-1-1-1,0 0 1,0 0-1,0-2-6,-8 10-9,-1 0 0,0 1-1,1-1 1,-1 0 0,0 0 0,0 0-1,0 0 1,-1 0 0,1 0 0,0-1-1,-1 1 1,1 0 0,-1 0 0,0-1-1,0 1 1,0 0 0,0 0 0,0-1 0,0 1-1,0 0 1,-1 0 0,1 0 0,-1-1-1,0 1 1,0 0 0,0 0 0,0 0-1,0 0 1,0 0 0,0 0 0,-1 1-1,1-1 1,0 0 0,-3-1 9,1 0 18,0 1-1,-1-1 1,0 1 0,1 0 0,-1 0-1,0 0 1,0 0 0,0 1 0,0 0-1,0 0 1,0 0 0,-1 0 0,1 0-1,0 1 1,-1 0 0,1 0 0,0 0-1,-2 1-17,-6 1 141,0 1-1,1 1 1,-1 0-1,1 0 1,-1 1-1,1 1 1,1 0-1,-1 0 0,1 1 1,0 1-1,1-1 1,-5 6-141,10-9 28,0 1 0,0 0 0,0 0 1,1 0-1,0 0 0,0 1 0,0 0 1,0 0-29,2-4 6,1 0 0,-1 0 0,0 0 0,1 1 0,-1-1 0,1 0 1,-1 0-1,1 0 0,0 0 0,0 1 0,0-1 0,0 0 0,1 0 1,-1 1-1,0-1 0,1 0 0,0 0 0,-1 0 0,1 0 0,0 0 1,0 0-1,0 0 0,1 0 0,0 1-6,2 1 14,0 0 0,0-1-1,1 1 1,-1-1 0,1-1-1,0 1 1,4 1-14,38 15 177,-44-18-157,110 33 247,-55-18-325,28 13 58,-69-22 124,0 0 1,0 1-1,-1 2 0,0-1 1,-1 2-1,14 11-124,-27-21 41,0 1-1,-1-1 1,1 1 0,0 0-1,-1-1 1,0 1 0,1 0-1,-1 0 1,0 0 0,0 0-1,0 0 1,0 0 0,0 1-1,0-1 1,-1 0 0,1 0-1,-1 0 1,0 1 0,1-1-1,-1 0 1,0 1 0,0-1-1,-1 0 1,1 1 0,0-1-1,-1 0 1,1 0 0,-1 0-1,0 1 1,0-1 0,0 0-1,0 0 1,0 0 0,0 0-1,-1 0 1,1 0 0,0-1-41,-6 8 3,-1-1 0,1 0 0,-1-1 0,-1 0-1,1 0 1,-1 0 0,-2 0-3,-13 8-739,-19 9 739,33-19-718,0 0-1,0-1 1,-1-1-1,1 0 0,-1 0 1,-2-1 718,-9-1-3168</inkml:trace>
  <inkml:trace contextRef="#ctx0" brushRef="#br0" timeOffset="20400.967">2405 16177 5824,'5'4'599,"0"0"1,1-1-1,-1 1 0,1-1 1,4 1-600,16 10 1008,-21-10-956,0 0 0,0 0 0,-1 0 0,0 1 1,0 0-1,0 0 0,0 0 0,-1 0 0,0 0 0,0 1 0,0-1 0,0 2-52,6 17 519,-1 0-1,2 8-518,-9-27 61,15 50 439,24 85-883,-1 28 383,-5 41-5413,-34-201 4577,1 0-1,-1 1 1,0-1 0,0 0 0,-1 1 836,-3 1-1211</inkml:trace>
  <inkml:trace contextRef="#ctx0" brushRef="#br0" timeOffset="20818.959">2580 16422 4384,'-1'-5'204,"1"1"1,0-1-1,0 0 0,0 0 1,1 1-1,0-1 0,0 0 1,0 1-1,0-1 0,1 1 1,-1-1-1,1 1 0,2-4-204,4-6 350,1 1 0,0 0 0,5-5-350,-8 11 179,1 0 0,0 0 0,0 0-1,1 1 1,0 0 0,0 0 0,0 1-1,1 0 1,-1 1 0,1 0 0,0 0-1,0 0 1,1 2 0,-1-1 0,3 1-179,-5 0-21,-1 1 0,1 1 0,0-1 0,-1 1-1,1 0 1,0 1 0,0 0 0,-1 0 0,1 0 0,-1 1 0,1 0 0,-1 0 0,0 0 0,1 1 0,-1 0 0,-1 1 0,1-1 0,0 1 0,-1 0 0,0 0 0,0 1 0,3 2 21,-6-4-19,1-1-1,-1 1 0,0 0 1,0 0-1,0 0 1,0 1-1,-1-1 1,1 0-1,-1 1 1,0-1-1,0 0 1,0 1-1,0 0 1,0-1-1,-1 1 1,0-1-1,0 3 20,0-2 81,-1 1 0,0 0-1,0 0 1,0 0 0,-1 0-1,1-1 1,-1 1-1,0-1 1,-1 1 0,1-1-1,-1 0 1,0 0-81,-3 4 98,0 0 0,-1 0 0,-1 0 0,1-1 0,-1-1 1,-1 1-1,1-1 0,-1-1 0,0 1 0,0-1 0,0-1 0,-1 0-98,-6 2-520,0-2 0,-1 0 0,1-1 0,-1 0 0,1-1 0,-2-1 520,-17-1-2794</inkml:trace>
  <inkml:trace contextRef="#ctx0" brushRef="#br0" timeOffset="22119.797">3261 16498 3808,'17'4'440,"-10"-2"-258,0 0-1,0-1 1,0 0 0,0 0-1,0-1 1,1 0 0,5 0-182,0-2 187,-1 2-118,0-2 1,0 0 0,7-2-70,-16 3-16,1 0 0,-1 0 1,0 0-1,0-1 0,0 1 0,0-1 1,0 0-1,0 0 0,-1 0 0,1 0 1,-1 0-1,1 0 0,-1-1 1,0 1-1,2-3 16,-4 4 21,1 0 1,-1 1-1,0-1 0,1 0 1,-1 0-1,0 0 1,0 0-1,0 0 0,0 0 1,1 0-1,-1 0 0,-1 0 1,1 0-1,0 0 1,0 0-1,0 0 0,0 0 1,-1 0-1,1 0 1,0 0-1,-1 0-21,-12-21 320,8 16-289,-3-6-15,-1 0 0,0 1 1,-1 1-1,0 0 0,-1 0 1,0 1-1,-1 0 0,1 1 1,-2 0-1,1 1 0,-1 0 1,0 1-1,0 1 0,-1 0 0,0 1 1,0 0-1,-8 0-16,17 3 114,0 1-1,0 0 1,0 0 0,0 0-1,-1 0 1,1 1 0,0 0-1,0 0 1,0 1 0,0-1-1,0 1 1,1 0-1,-1 1 1,1-1 0,-1 1-1,1 0 1,0 0 0,0 0-1,-4 3-113,5-3 51,-1 1 0,1-1 1,0 1-1,0 0 0,0 0 0,0 0 0,1 0 0,0 0 0,-1 1 0,2-1 0,-1 1 0,0-1 0,1 1 0,0 0 1,0 0-1,0-1 0,1 1 0,0 0 0,0 0 0,0 0 0,0 1-51,2 5 31,1 0-1,0 0 0,1 0 1,0-1-1,0 0 1,1 1-1,0-2 1,1 1-1,0-1 1,1 0-1,0 0 1,0 0-1,1-1 1,7 5-31,-11-10-14,0 0 1,0 0 0,0-1 0,1 0-1,-1 0 1,1 0 0,0 0 0,-1-1 0,1 0-1,0 0 1,0 0 0,0 0 0,4-1 13,-2 0-94,-1-1 1,1 0 0,0 0 0,-1 0-1,1-1 1,-1 0 0,1 0 0,-1-1-1,3-1 94,5-4-223,-1 0-1,-1 0 1,0-1-1,0-1 0,-1 0 1,0 0-1,0-2 1,5-7 223,59-84-759,-39 50 934,12-10-175,-34 47 122,1 0 0,1 0 0,0 2 0,1 0 0,11-7-122,-12 11 0,1 1 0,14-6 0,-10 6-224,-15 6-73,0 0 0,-1-1-1,1 0 1,1-1 297,-7 5-10,0-1 0,0 1 0,0 0 0,0 0-1,0 0 1,0 0 0,0 0 0,0-1 0,0 1 0,0 0 0,0 0 0,1 0-1,-1 0 1,0-1 0,0 1 0,0 0 0,0 0 0,0 0 0,-1-1-1,1 1 1,0 0 0,0 0 0,0 0 0,0 0 0,0-1 0,0 1 0,0 0-1,0 0 1,0 0 0,0 0 0,0 0 0,-1-1 0,1 1 0,0 0-1,0 0 1,0 0 0,0 0 0,0 0 0,-1 0 0,1 0 0,0 0-1,0 0 1,0-1 0,0 1 10,-7-3-82,5 2 117,-1 1 0,1-1 0,-1 1 0,0 0 0,1 0 0,-1 0 0,1 1 0,-1-1 0,1 0 0,-1 1-1,1 0 1,-1 0 0,1-1 0,0 1 0,-2 1-35,-3 2 482,-1 0-1,1 0 0,-6 5-481,-2 2 610,1 1 1,1 0-1,0 1 0,1 0 0,0 1 0,-7 11-610,8-8 152,1 1 0,0 0 0,2 0 0,0 1 0,1 0 0,1 1 0,0-1 0,2 1 0,0 3-152,3-13-42,0 0 0,1 1 0,0-1 0,1 0 0,0 1 0,0-1 0,1 0 0,1 0 0,2 6 42,-1-2-98,2-1 0,-1 0 1,2 0-1,0 0 0,0-1 0,6 7 98,-8-13-21,0 0 1,0 0-1,1-1 1,-1 1-1,1-1 1,0-1-1,1 1 1,-1-1-1,1 0 1,0 0-1,0-1 1,0 0-1,1 0 1,-1-1-1,1 0 1,-1 0-1,1-1 1,0 0-1,0 0 1,0 0-1,-1-1 1,1-1-1,0 1 1,0-1-1,0-1 1,-1 1-1,1-1 1,-1-1-1,1 1 1,-1-1-1,0-1 1,5-2 20,4-5-11,-1-2 1,0 0-1,-1 0 0,0-2 1,-1 1-1,0-2 0,3-7 11,8-10 291,-2-1-1,-1-2 0,-2 0 0,4-11-290,3-15 217,-4 0 0,3-17-217,-10 24 648,-3-1 0,-2 0 0,-3-1 0,0-36-648,-6 100-35,0 1 0,0 0 1,0-1-1,1 0 0,0 1 0,1 0 35,4 15-4,1 5-43,1-1 0,1-1 0,2 0 0,0 0 0,15 21 47,-19-34 17,17 26 121,1 0 0,5 1-138,-21-29 21,0 0 1,0-1-1,0 0 0,2 0 1,-1-1-1,1-1 1,0 0-1,12 5-21,-18-10 11,5 2-38,0 0 1,0 0 0,1-1 0,1 0 26,-10-4-7,0 1 0,0 0 0,0-1-1,0 0 1,0 0 0,0 0 0,0 0-1,0 0 1,0 0 0,0-1 0,0 0-1,0 1 1,0-1 0,0 0 0,-1 0-1,1-1 1,0 1 0,2-2 7,0-2-13,1 0 1,-1 0-1,0 0 0,-1-1 0,1 0 1,-1 0-1,0 0 0,0-1 1,-1 1-1,0-1 0,0 0 1,-1 0-1,1 0 0,-2 0 1,1 0-1,-1-1 13,0 2-42,0 0 0,-1 0 0,1 0-1,-2 1 1,1-1 0,-1 0 0,1 0 0,-2 0 0,0-4 42,1 7-49,-1-1 0,1 1 0,-1-1 0,1 1 0,-1 0 0,0-1 0,-1 1 0,1 0 0,0 1 0,-1-1 0,0 0 0,0 1 0,1-1 0,-1 1 0,-1-1 49,2 2-3,0 0 0,1 0 0,-1 0 0,0 1 0,0-1 0,1 0-1,-1 1 1,0-1 0,0 1 0,0 0 0,0 0 0,0 0 0,0 0 0,0 0 0,1 0 0,-1 0 0,0 0 0,0 1 0,0-1 0,0 1 0,-1 0 3,-2 1 21,1 0-1,0 1 1,0-1 0,0 1-1,0 0 1,1 0-1,-1 1 1,1-1-21,2-2 9,0 0 1,0 0-1,0 0 1,0 0-1,1 0 1,-1 0-1,0 0 1,1 0-1,-1 0 1,1 0-1,-1 0 0,1 0 1,-1 0-1,1 1 1,0-1-1,0 0 1,-1 0-1,1 0 1,0 0-1,0 1 1,0-1-1,0 1-9,1 0 1,0 0 0,-1-1 0,1 1-1,0-1 1,0 1 0,0-1 0,0 1 0,0-1 0,0 1-1,0-1 1,1 0 0,-1 0 0,0 0 0,1 1-1,7 4-11,0-1 0,0 0 0,1 0 0,-1-1 1,2 1 10,-3-2 42,51 21-48,-28-13 277,0 2-1,-2 1 1,1 1 0,24 19-271,-51-33 64,0 2-1,-1-1 0,1 0 1,-1 0-1,1 1 1,-1 0-1,0-1 0,0 1 1,0 0-1,0 0 1,-1 0-1,1 0 1,-1 0-1,0 0 0,0 1 1,0 1-64,0-2 38,-1 0-1,0 0 1,0 0 0,0 0 0,-1 0 0,1 0 0,-1 0 0,0 0-1,1 0 1,-1 0 0,-1 0 0,1 0 0,0 0 0,-1 0 0,1-1-1,-1 1 1,0-1 0,0 1-38,-8 9 110,0-1 0,0 0 0,-1 0 0,-1-1 0,-3 2-110,8-7-153,1-1 0,-1 1 0,-1-1 0,1 0 0,-1 0 0,0-1-1,0 0 1,0-1 0,0 0 0,-3 1 153,7-3-413,-1 0-1,0 0 1,0 0 0,0-1 0,1 0 0,-1 0-1,0 0 1,1 0 0,-1-1 0,1 0 0,0 1 0,-1-2-1,1 1 1,0 0 0,0-1 0,0 0 0,0 0-1,1 0 1,-1 0 0,1-1 0,-2-2 413,-16-20-3888</inkml:trace>
  <inkml:trace contextRef="#ctx0" brushRef="#br0" timeOffset="22413.309">4029 16065 8960,'43'16'3328,"-10"-16"-2592,37-16-192,-24-6-1440</inkml:trace>
  <inkml:trace contextRef="#ctx0" brushRef="#br0" timeOffset="28088.765">6036 1361 1472,'-48'12'475,"46"-11"-454,1-1 1,-1 1-1,0-1 1,0 1-1,0 0 1,0-1-1,1 1 1,-1 0-1,0 0 1,1 1-1,-1-1 1,1 0 0,-2 1-22,1 1 77,1-3-61,1 0-1,0 1 1,0-1-1,0 0 1,0 0 0,0 1-1,0-1 1,0 0-1,0 0 1,0 1 0,0-1-1,0 0 1,0 0-1,0 1 1,0-1 0,0 0-1,0 0 1,0 1 0,0-1-1,0 0 1,0 0-1,1 1 1,-1-1 0,0 0-1,0 0 1,0 0-1,0 1 1,0-1 0,1 0-1,-1 0 1,0 0-1,0 0 1,0 1 0,1-1-1,-1 0 1,0 0-1,0 0 1,1 0 0,-1 0-1,0 0 1,0 0-16,2 1 31,0-1-1,0 0 1,0 0-1,0 1 1,-1-1 0,1-1-1,0 1 1,0 0 0,0 0-1,-1-1 1,1 1 0,0-1-1,0 1 1,-1-1-1,1 0-30,10-3 112,104-31 1977,13-11-2089,-43 15 454,421-149 1461,-195 61 122,197-110-2037,-484 217 60,355-168 472,697-334-1614,-1027 491-326,-13 3-1968</inkml:trace>
  <inkml:trace contextRef="#ctx0" brushRef="#br0" timeOffset="3.647">736 9812 2304,'-6'-10'444,"4"7"-331,0 1 0,1 0-1,-1 0 1,1-1 0,0 1-1,0-1 1,0 1 0,0-1-1,0 1 1,1-1 0,-1 0 0,1 0-1,-1 1-112,1 0 177,0 1 1,-1-1-1,1 1 0,-1 0 0,0-1 1,0 1-1,1 0 0,-1-1 0,0 1 1,-1 0-178,0-2 783,8 10-646,1 1 10,-1 0-1,-1 0 0,0 0 0,0 1 0,3 9-146,9 15 299,8 14-127,-2 2 1,-2 1-1,2 13-172,-14-36 1,-2 0-1,0 0 1,-2 1 0,-1 0-1,-2 0 1,-1 0 0,0 1-1,-4 17 0,0-21-782,-1 0 0,-1 0 0,-6 15 782,6-22-1461,-4-9-1046</inkml:trace>
  <inkml:trace contextRef="#ctx0" brushRef="#br0" timeOffset="3.647">758 9778 3392,'1'-7'257,"0"0"1,1 1-1,-1-1 1,1 0-1,1 1 1,-1 0-1,1-1 1,0 1-1,3-4-257,0-3 136,0 4-112,-1 1-1,1-1 1,0 1-1,1 0 1,4-3-24,10-14-97,-14 18 97,0 0-1,0 0 1,0 1-1,1 0 0,0 0 1,0 1-1,0 0 1,1 1-1,-1 0 0,1 0 1,7-2 0,-8 3 15,1 1 0,0 0 0,-1 0 1,1 1-1,0 0 0,0 0 0,0 1 1,0 0-1,0 1 0,0 0 0,0 0 0,6 2-15,-3 2-13,0-1 0,0 1 0,-1 1 0,0 0 0,0 1 0,0 0 0,-1 0 0,0 1 0,0 1 0,-1 0 0,0 0 0,0 1 0,-1 0-1,-1 0 1,0 1 0,1 1 13,-1 2 9,1 0 0,-2 0-1,0 1 1,0 0 0,-2 0 0,1 1-1,-2-1 1,0 1 0,-1 0-1,-1 0 1,-1 0 0,0 0-1,-1 0-8,-1 5 38,-2 1-1,-1-1 1,0-1-1,-1 1 1,-2-1-1,0 0 0,-1 0 1,-1-1-1,-7 10-37,-10 12 197,-1-2 0,-2 0 0,-25 22-197,30-35 115,-1-1-1,-1-1 0,-2-2 0,0-1 0,-1-1 0,-32 15-114,33-21-349,1-1-1,-2-1 0,0-2 1,0-1-1,0-2 1,-1-1-1,0-1 1,-5-1 349,5-3-2235</inkml:trace>
  <inkml:trace contextRef="#ctx0" brushRef="#br0" timeOffset="3.647">1784 9839 3904,'-5'-8'1627,"5"8"-1615,0-1 0,0 1-1,0 0 1,0 0-1,0-1 1,-1 1-1,1 0 1,0 0-1,0 0 1,0-1-1,0 1 1,0 0-1,0 0 1,-1 0-1,1-1 1,0 1 0,0 0-1,0 0 1,0 0-1,-1 0 1,1 0-1,0-1 1,0 1-1,0 0 1,-1 0-1,1 0 1,0 0-1,0 0 1,-1 0 0,1 0-1,0 0 1,0 0-1,-1 0 1,1 0-1,0 0 1,0 0-1,0 0 1,-1 0-1,1 0 1,0 0-1,0 0 1,-1 0-1,1 0 1,0 0 0,0 0-1,0 1 1,-1-1-1,1 0-11,-3 1-27,-8 1-110,0 1 1,0 0-1,0 1 0,1 0 0,0 1 0,-5 3 137,12-6-4,0-1-1,0 1 0,-1 0 1,1-1-1,0 0 1,-1 0-1,1 0 0,-1 0 1,-1 0 4,4-1 5,0 0 1,0 0-1,-1 0 1,1 0-1,0 0 1,0 0-1,0 0 1,-1-1-1,1 1 1,0 0-1,0-1 1,0 1-1,0-1 1,0 1-1,0-1 0,0 1 1,0-1-1,0 0 1,0 0-1,0 1 1,0-1-1,0 0 1,1 0-1,-1 0 1,0 0-1,1 0 1,-1 0-1,0 0-5,0-3-1,-1 1 0,0 0 0,0 0-1,0 0 1,-1 0 0,1 0 0,-1 1 0,1-1 0,-1 1-1,0 0 1,0-1 0,0 1 0,0 0 0,0 1-1,-1-1 1,1 1 0,0-1 0,-1 1 0,1 0 0,-1 0-1,1 1 1,-2-1 1,-2 0 22,-1 1 1,1 0-1,0 1 0,-1-1 1,1 1-1,0 1 0,0-1 1,0 1-1,0 0 0,-6 3-22,-2 2 95,1 0 0,-1 1-1,1 0 1,1 1 0,-1 1-1,2 0 1,-1 1 0,-9 12-95,14-15 4,1 0 1,0 0-1,1 1 1,0 0 0,1 1-1,0-1 1,0 1-1,1 0 1,0 0-1,1 1 1,0-1 0,0 1-1,1 0 1,1 0-5,1-4-20,0 0-1,1 0 1,-1 0 0,2 0 0,-1 0 0,1 0-1,0 0 1,0 0 0,1-1 0,0 1 0,0-1-1,1 1 1,-1-1 0,1 0 0,1-1 20,2 5-4,0-1 1,1 0-1,0-1 1,1 0 0,0-1-1,0 1 1,1-2-1,8 6 4,-7-6 14,0-1 0,0 0 0,1-1 0,-1 0 0,1 0 0,0-1 0,0-1 0,1 0 0,-1-1 0,0 0 0,0-1 0,1 0 0,-1-1 0,0-1 0,1 1 0,-1-2 0,0 0 0,0 0 0,-1-1 0,1-1 0,-1 0 0,0 0 0,0-1 0,1-2-14,-3 2 80,0-1 1,-1-1-1,0 1 0,0-1 0,0-1 0,-1 1 1,-1-1-1,1-1 0,-1 1 0,-1-1 1,0 0-1,0 0 0,-1-1 0,-1 1 0,1-1 1,-2 0-1,1-2-80,3-25 248,-2-1 0,-2 1 0,-2 0 0,-1-15-248,0 26 44,-8-169 1465,-12-25-1509,19 190-5,1-23 5,1 56-11,1 0-1,-1-1 1,1 1-1,-1-1 1,1 1-1,-1-1 1,1 1-1,0-1 1,0 0 0,0 1 11,4 9-67,27 84 105,-5 2 0,3 36-38,3 11-23,33 138-111,14 57-175,-66-282-477,-2 1 0,-3 1 0,-3 0 0,-2 0 0,-3 18 786,-2-54-973,0-1-1,-2 1 1,-1-1 0,-4 14 973,0-18-1083</inkml:trace>
  <inkml:trace contextRef="#ctx0" brushRef="#br0" timeOffset="3.647">1766 9870 4224,'-1'-3'121,"-1"0"0,1-1 0,0 1 0,0-1 0,0 1 0,1-1 0,-1 1 0,1-1 0,0 1 0,0-1-1,0 0 1,0 1 0,1-1 0,-1 1 0,1-1 0,0 1 0,0-1 0,0 1 0,1-1 0,-1 1 0,1 0 0,2-3-121,16-32 304,-13 23-330,1 0-1,0 0 1,1 1-1,1 1 1,8-10 26,-15 20-6,0 0-1,0 0 1,0 0-1,0 1 1,0 0-1,1-1 1,0 1-1,-1 0 1,1 1 0,0-1-1,0 1 1,-1-1-1,1 1 1,0 0-1,1 1 1,-1-1-1,0 1 1,0 0-1,0 0 1,0 0 0,0 0-1,0 1 1,0-1-1,0 1 1,2 1 6,2 0-14,1 1 1,-1 1-1,-1-1 1,1 1-1,0 1 0,-1-1 1,0 1-1,0 1 1,0-1-1,-1 1 1,0 0-1,0 0 1,3 5 13,-2-1 14,0 0 1,-1 0 0,0 0 0,-1 1 0,0 0 0,-1 0-1,0 1 1,0-1 0,0 7-15,-3-12 14,0 1 0,-1 0 1,1 0-1,-1-1 0,-1 1 0,1 0 0,-1-1 0,0 1 1,-1 0-1,1-1 0,-1 1 0,-1-1 0,1 0 0,-1 0 1,0 0-1,-1 0 0,1 0 0,-1-1 0,0 1 0,0-1 1,-1 0-1,-2 2-14,-8 6-147,1-1 1,-2 0-1,1-1 0,-1-1 1,-1-1-1,0 0 0,-7 2 147,-23 9-538</inkml:trace>
  <inkml:trace contextRef="#ctx0" brushRef="#br0" timeOffset="3.647">1176 10095 2816,'0'-1'80,"0"1"0,0-1 0,1 0 1,-1 1-1,0-1 0,1 1 0,-1-1 0,1 1 1,-1-1-1,0 1 0,1-1 0,-1 1 0,1-1 0,0 1 1,-1-1-1,1 1 0,-1 0 0,1-1 0,0 1 0,0 0-80,16-8 490,-13 7-242,0-1-189,1 0 0,-1-1 0,0 1 0,0-1 0,0 0 0,0 0 0,0 0 0,-1-1-1,3-2-58,28-38 46,-14 16-19,13-15 340,41-51 358,-59 78-699,1-1-1,0 2 1,1 0-1,7-3-25,19-20-762,-39 34-255,-7 4-1500,0 0 1395,3 0 130</inkml:trace>
  <inkml:trace contextRef="#ctx0" brushRef="#br0" timeOffset="3.647">1430 9934 2816,'8'-2'233,"5"-1"194,0 0 0,0 0 0,0 2 0,9-1-427,-17 2 22,1 0 0,-1 1 0,0 0 0,0 0 0,0 0 0,0 0 0,0 1 0,-1 0 0,1 0 0,0 0 0,-1 0 0,1 1 0,-1 0-1,0 0 1,0 0 0,0 0 0,0 1 0,-1 0 0,1 0 0,-1 0 0,0 0 0,0 0 0,-1 0 0,1 1 0,-1-1 0,2 5-22,-4-7 66,1 1 0,-1-1 0,0 0 0,0 0 0,0 1 0,0-1 0,0 0 0,0 0 0,-1 1 0,1-1 0,-1 0 0,0 0 0,1 0 0,-1 0 0,0 0 1,0 0-1,-1 2-66,-2 1 65,1 0 0,-1-1 1,1 1-1,-1-1 0,0 0 0,-2 1-65,-3 3-80,-1-1-1,0 0 0,0 0 0,-1-1 0,0-1 0,-2 1 81,-40 14-1429</inkml:trace>
  <inkml:trace contextRef="#ctx0" brushRef="#br0" timeOffset="3.647">1981 9116 3712,'1'-10'280,"-1"4"-93,1 0 0,-1 0 0,1 0 0,0 1 0,1-1 0,-1 0 0,1 1-1,0-1 1,2-1-187,-4 7 21,1-1 0,-1 0 0,1 1 0,0-1-1,-1 1 1,1-1 0,0 1 0,0-1-1,-1 1 1,1-1 0,0 1 0,0 0 0,0 0-1,0-1 1,0 1 0,-1 0 0,1 0-1,0 0 1,0 0 0,0 0 0,0 0 0,0 0-1,0 0 1,-1 0 0,1 0 0,0 1-1,0-1-20,1 0-16,1 1-1,-1 0 0,0 0 1,0-1-1,1 1 0,-1 0 1,0 1-1,0-1 0,2 2 17,0 1 1,0 1 0,1 0 1,-2 1-1,1-1 0,-1 1 0,1 0 0,-2-1 0,2 4-1,6 12 12,19 37-40,-2 2 28,0 2-68,-2-3 93,-2 2-1,-3 0 0,4 32-24,32 190-1387,-41-196-242,-7-42 2</inkml:trace>
  <inkml:trace contextRef="#ctx0" brushRef="#br0" timeOffset="3.647">2663 9484 1408,'-6'-6'333,"-6"0"1835,9 5-2126,1 0-1,0 1 1,-1-1 0,1 1-1,-1 0 1,1 0 0,-1 0-1,1 0 1,0 0 0,-1 0-1,1 1 1,-1-1-1,1 1 1,0 0 0,-1 0-1,1 0 1,0 0 0,0 0-1,0 0 1,0 0 0,0 1-1,0-1 1,0 1-1,0 0 1,0-1 0,1 1-1,-1 0-41,-3 4 56,0 1 0,0-1 0,0 1 0,1 0-1,0 0 1,1 0 0,-2 5-56,1 2 37,1-1 0,0 1-1,0 0 1,2 0 0,0 0 0,0 0 0,2 0 0,0 0 0,0 0 0,1 0 0,1-1-1,0 3-36,0-8-4,0 1-1,1-1 1,0 0-1,0 0 1,0 0-1,1-1 1,0 1-1,1-1 1,2 2 4,0 0 36,2 0 0,-1 0 0,1-1 0,0 0 0,1 0 0,1-1-36,-7-4 100,0 0 0,0 0-1,1-1 1,-1 0 0,1 0-1,0-1 1,0 1-1,-1-1 1,1 0 0,0-1-1,0 1 1,5-1-100,-8-1 76,0 1-1,0-1 1,1 1 0,-1-1 0,0 0-1,0 0 1,0 0 0,-1-1 0,1 1-1,0-1 1,0 1 0,-1-1-1,1 0 1,-1 0 0,1 0 0,-1-1-1,0 1 1,0 0 0,0-1 0,0 0-1,0 1 1,-1-1 0,1 0 0,-1 0-76,2-5 71,0 0 0,-1 0 1,-1 1-1,1-1 0,-1 0 1,-1 0-1,0 0 0,0 0 1,0 0-1,-1 0 0,0 0 1,-1-1-72,-2-12 205,-1 0 0,0 0 1,-9-17-206,8 23-292,0 1-1,-2 0 1,1 0 0,-2 1 0,0 0 0,0 0 0,-1 1-1,-4-3 293,9 10-195,-1-1 0,0 1-1,0 0 1,0 1 0,-1-1-1,0 1 1,0 1-1,0-1 1,0 1 0,0 0-1,-1 1 1,1 0 0,-1 0-1,0 1 1,1 0 0,-1 0-1,-2 0 196,7 1-225,-1 1-1,1-1 1,0 0-1,0 1 1,0 0-1,0-1 1,0 2 225,-16 8-1851</inkml:trace>
  <inkml:trace contextRef="#ctx0" brushRef="#br0" timeOffset="3.647">2650 9651 2816,'3'-1'115,"-1"1"0,1-1 0,0 1 0,-1-1 0,1 0 0,0 0 0,-1 0 0,1 0 0,-1-1 0,0 1 0,1-1 0,-1 1 0,0-1-1,0 0 1,1-1-115,6-6-87,0-1 0,5-7 87,-9 12 34,15-20-20,5-5 121,7-15-135,-26 37-17,0-1 0,0 1 0,1 1 0,0-1 0,1 1 0,-1 0 0,1 1 0,1 0 0,-1 0 0,10-4 17,-18 10 7,1 0 1,-1 0 0,0 0 0,1 0-1,-1 0 1,0 0 0,1 0 0,-1 0 0,1 0-1,-1 1 1,0-1 0,1 0 0,-1 0-1,0 0 1,1 1 0,-1-1 0,0 0-1,0 0 1,1 1 0,-1-1 0,0 0 0,0 0-1,1 1 1,-1-1 0,0 0 0,0 1-1,0-1 1,0 1 0,1-1 0,-1 0-8,5 12 193,-5-11-166,2 5 43,-1 1 1,0 0-1,0 0 1,0 0 0,-1 5-71,3 21 36,-1-22-20,5 26-6,-6-35-9,-1 0 0,1 0-1,0-1 1,-1 1 0,1 0-1,0-1 1,0 1 0,0-1-1,0 1 1,0-1 0,1 0-1,-1 1 1,0-1 0,1 0-1,-1 0 1,1 0 0,0 1-1,-1-2 3,1 0 0,-1 0 1,0 0-1,0 0 1,0 0-1,0-1 1,0 1-1,0 0 1,0-1-1,0 1 1,0 0-1,1-1 0,-2 0 1,1 1-1,0-1 1,0 1-1,0-1 1,0 0-1,0 0 1,0 0-1,-1 1 1,1-1-1,0 0 1,-1 0-1,1-1-3,18-25 68,-13 11 310,-1 1-1,0-1 1,2-14-378,4-11 1182,-7 26-561,-1 0 0,0-1 0,-1-6-621,0 11 131,3-16 49,-2 18-254,-3 9 70,0 0 1,0-1 0,0 1 0,1 0 0,-1 0 0,0 0 0,0 0 0,0 0 0,0 0 0,0 0 0,0 0 0,0 0 0,0 0 0,0 0 0,0 0 0,0 0 0,0 0 0,0 0 0,0 0 0,0 0 0,0-1 0,0 1 0,1 0 0,-1 0 0,0 0 0,0 0 0,0 0 0,0 0 0,0 0 0,0 0 0,0 0 0,0 0 0,0 0 0,0 0 0,0 0 0,1 0 0,-1 0 0,0 0 0,0 0 0,0 0 0,0 1 0,0-1 0,0 0-1,0 0 1,0 0 0,0 0 0,0 0 0,0 0 0,0 0 0,0 0 0,0 0 0,0 0 0,1 0 0,-1 0 0,0 0 0,0 0 0,0 0 0,0 0 0,0 1 0,0-1 0,0 0 0,0 0 0,0 0 3,7 16-18,-1 1 0,0 0-1,2 14 19,6 16-68,27 63 7,5-2 0,19 26 61,-29-55 66,-3 2 1,6 35-67,-19-52 23,-3 0 0,3 36-23,-14-57-45,-1-1 0,-2 1 0,-3 0 1,-2 22 44,0-43 30,-1-2 0,-1 1 0,-1 0 0,0-1 1,-2 0-1,0 0 0,-1 0 0,-1-1 0,-5 5-30,8-13 56,-1-1-1,0 0 0,0 0 1,-1-1-1,-1 0 0,1 0 1,-1-1-1,-1 0 1,0-1-1,0 0 0,0 0 1,-1-1-1,0-1 0,0 0 1,0 0-1,-9 2-55,6-4 155,-1 0 1,0 0-1,1-2 1,-1 0-1,0 0 1,0-2-1,0 0 0,0 0 1,0-1-1,1-1 1,-1-1-1,1 0 1,0 0-1,0-2 0,0 0 1,1 0-1,0-1 1,0-1-1,0 0 0,1-1 1,1 0-1,-1-1 1,2 0-1,-1-1 1,1 0-1,1-1 0,0 0 1,1 0-1,0-1 1,1 0-1,0 0 1,1-1-1,0 0 0,2 0 1,-2-7-156,1-2-66,1 1-1,2-1 1,0 0 0,1 0-1,1 0 1,2 0 0,0 0-1,1 0 1,2 1 0,0-1 66,4-8-236,1 0 1,1 1 0,2 0 0,1 1 0,1 0 0,2 1 0,2 0 235,21-27-937,2 1 1,2 3 0,32-27 936,23-13-3655,44-28 3655,51-30-3920</inkml:trace>
  <inkml:trace contextRef="#ctx0" brushRef="#br0" timeOffset="3.647">3400 8721 1056,'5'5'343,"-4"-4"-263,0 1 0,0-1 0,1 1-1,-1-1 1,1 0 0,-1 0 0,1 0 0,0 0 0,-1 0 0,1 0 0,0 0 0,-1-1 0,1 1 0,0-1 0,0 1-1,0-1 1,0 0 0,0 1 0,1-1-80,10 0 125,0 0 1,0 0-1,0-1 0,0-1 0,0 0 0,0-1 1,0-1-1,-1 0 0,4-2-125,25-10 554,-1-3 0,5-4-554,110-59 752,-103 55-719,-2-2-1,-1-3 1,-2-2 0,-1-1 0,-2-3-1,-2-2 1,33-39-33,-5 0 516,36-56-516,-72 87 226,-3-1 1,-2-2-1,17-42-226,-22 38 338,-3 0 0,-3-2 0,-2 0 0,-3-1 0,0-16-338,1-33 159,-5 0 1,-5-1-1,-4 1 0,-5-1 0,-5 1 0,-11-42-159,-18-38 485,-7 3 1,-19-30-486,-69-139 698,108 294-580,-3 2-1,-2 1 0,-2 2 1,-6-3-118,-159-199 463,168 219-452,-22-26 169,-56-51-180,76 84 39,-1 2 0,-1 1 0,-2 2 0,-18-10-39,43 29-18,0 0 0,-1 0 0,0 1 0,0 1 0,0 0-1,0 0 1,0 1 0,-1 1 0,0 0 0,-5 1 18,0-1-72,16 1 63,0 1 0,0-1 0,1 1 0,-1 0 0,0 0 0,0 0 0,1 0 0,-1 0 1,0 0-1,0 0 0,0 1 0,1-1 0,-1 0 0,0 1 0,1 0 0,-1-1 0,0 1 0,1 0 0,-1 0 0,-1 1 9,3-2-266,0 0-33,0 0-320,0 0-101,0 0-901,-1 1 1429,1-1 1,0 0-1,0 0 0,-1 0 0,1 1 1,0-1-1,0 0 0,-1 0 0,1 0 0,0 0 1,-1 0-1,1 0 0,0 0 0,-1 0 1,1 1-1,0-1 0,0 0 0,-1 0 1,1 0-1,0-1 0,-1 1 0,1 0 1,0 0-1,-1 0 0,1 0 0,0 0 1,0 0-1,-1 0 0,1 0 0,0-1 1,-1 1 191,0 0-456,-6-1-1117</inkml:trace>
  <inkml:trace contextRef="#ctx0" brushRef="#br0" timeOffset="3.647">3546 4776 3072,'-23'-2'1626,"19"1"-1542,1 1 0,-1-1 0,1 1 0,0 0 0,-1 0 0,1 0 0,-1 0 0,1 1 0,-1 0 0,1-1 0,0 1 0,-1 0 0,1 0 0,0 1 0,0-1 0,-3 3-84,-3 2 117,0 1-1,0 1 1,1 0-1,0 0 1,0 0-1,-5 9-116,-60 90 761,17-21-973,42-70-241,2-4-1168</inkml:trace>
  <inkml:trace contextRef="#ctx0" brushRef="#br0" timeOffset="3.647">3503 4737 5056,'13'-22'1888,"8"30"-1472,4-16-128,-7 0 288,9 8-384,6-3 0,10 3-128,10 0-64,7-8 32,-1 5-2304,-2-13 1248,-1-3-2048</inkml:trace>
  <inkml:trace contextRef="#ctx0" brushRef="#br0" timeOffset="3.647">887 3007 3072,'0'-2'105,"-1"0"0,0 0 0,0 1 0,0-1 0,0 0 0,0 1 0,0-1 0,0 0 0,0 1 0,-1-1 0,1 1 0,-1 0 0,0-1-105,1 1 99,0 0-1,0-1 1,0 1-1,1 0 1,-1 0-1,1-1 1,-1 1-1,1 0 1,-1-1-1,1 1 1,0 0-1,-1-1 1,1 1-1,0 0 1,0-2-99,0 2 21,0 0-1,0 0 1,0 1 0,0-1-1,0 0 1,0 0 0,0 0-1,0 1 1,0-1 0,0 0 0,0 0-1,1 0 1,-1 1 0,0-1-1,1 0 1,-1 0 0,1 1 0,-1-1-1,0 0 1,1 1 0,0-1-1,-1 0 1,1 1 0,-1-1-1,1 1 1,0-1-21,0 1-16,1 0 0,0 0 0,0 0 0,0 0 1,0 1-1,-1-1 0,1 0 0,0 1 0,0-1 0,-1 1 0,1 0 0,0-1 0,-1 1 0,1 0 0,-1 0 0,1 0 1,-1 0-1,1 0 0,-1 1 0,2 0 16,28 31 22,-26-28-35,18 24-43,0 2 1,14 27 55,6 10 41,86 110-702,-86-123-560</inkml:trace>
  <inkml:trace contextRef="#ctx0" brushRef="#br0" timeOffset="3.647">754 3026 3904,'-8'0'1440,"8"0"-1120,0 0-96,0 0 256,8-3-320,1-5 0,4 0-96,3-7-192,11-4 64,3-5-256,4-11 192,5-3-864,8-6 544,0-7-1408,6 9 1024,-7 4-320</inkml:trace>
  <inkml:trace contextRef="#ctx0" brushRef="#br0" timeOffset="3.647">1090 3214 2720,'-8'3'1024,"11"-3"-800,2 0-64,-5 0 416,9-3-352,4-8 128,4-8-224,12-5-64,11-10-32,3-1-1312</inkml:trace>
  <inkml:trace contextRef="#ctx0" brushRef="#br0" timeOffset="3.647">1857 2663 2080,'-3'-6'231,"1"0"-49,-1 1 0,0 1-1,1-1 1,-2 0 0,1 1 0,-2-2-182,5 5 35,-1 0-1,0 0 1,0 1 0,0-1 0,0 0-1,0 1 1,0-1 0,0 0 0,0 1-1,0 0 1,0-1 0,0 1 0,0-1 0,0 1-1,0 0 1,0 0 0,0 0 0,-1 0-1,1 0 1,0 0 0,0 0 0,0 0-1,0 0 1,0 0 0,-1 0 0,1 1 0,0-1-1,0 1 1,0-1 0,0 0 0,0 1-1,0 0 1,-1 0-35,-2 2 16,0 1-1,0-1 1,0 1 0,0 0-1,1 0 1,-1 0-1,1 1 1,0-1 0,1 1-1,-1 0 1,0 1-16,-3 8 97,0 1 1,1-1-1,-1 6-97,1-2 12,1 0 0,1 0-1,1 1 1,1-1 0,0 0-1,1 1 1,1-1 0,3 18-12,-2-28 1,0 0 0,0 1 0,1-1 1,0 0-1,0 0 0,1 0 1,0 0-1,1-1 0,1 2-1,-3-4 0,2 0 0,-1 0 1,1-1-1,-1 1 0,1-1 0,1 0 0,-1-1 0,0 1 0,1-1 0,0 0 1,0 0-1,0-1 0,0 1 0,2-1 40,0 0 0,0 0-1,0-1 1,0 0 0,0 0 0,0-1 0,0 0 0,0 0-1,0-1 1,0 0 0,0 0 0,0-1 0,0 0-1,-1 0 1,1-1 0,2-1-40,-2 0 73,1-1-1,0 0 0,-1 0 1,0-1-1,0 0 1,-1 0-1,1-1 0,-1 0 1,-1 0-1,0-1 1,0 0-1,0 0 0,1-2-72,-5 4 97,1 0-1,-1 1 1,0-1-1,-1 0 0,1 0 1,-1 0-1,0 0 1,-1 0-1,1-1 0,-1 1 1,0 0-1,-1 0 0,0 0 1,0 0-1,0 0 1,-1-4-97,-3-7 91,-1 0 1,-1 0-1,0 1 1,-1 0-1,-3-4-91,0 2-54,0 0-1,-1 1 1,-1 0-1,-1 1 0,0 0 1,-14-10 54,21 20-272,0 0 1,0 1-1,-1 0 1,0 0-1,0 0 1,0 1-1,0 0 1,-1 1-1,1 0 1,-1 0-1,0 1 1,0 0-1,0 0 1,0 1-1,0 1 1,-8-1 271,-14 5-2139</inkml:trace>
  <inkml:trace contextRef="#ctx0" brushRef="#br0" timeOffset="3.647">2314 2249 2720,'1'-2'1125,"-6"4"-773,4-2 96,5 8-112,-3-2-312,0-1-1,0 1 1,-1 0 0,0 0-1,0 0 1,-1 0-1,1-1 1,-2 6-24,-2 24 78,4 3-79,2-1 0,2 0 0,5 23 1,-5-40 2,1-1 0,1 0 0,1 0 0,0-1 0,1 0 0,2 0 0,6 10-2,-14-25-1,-1-1 1,0 0 0,1 1-1,0-1 1,0 0 0,0 0-1,0 0 1,0-1 0,0 1 0,0 0-1,0-1 1,1 1 0,-1-1-1,0 0 1,1 0 0,-1 0 0,1 0-1,0 0 1,-1 0 0,1-1-1,0 0 1,-1 1 0,1-1 0,0 0-1,0 0 1,-1 0 0,1-1-1,0 1 1,-1-1 0,1 1 0,0-1-1,-1 0 1,1 0 0,-1 0-1,1 0 1,-1-1 0,2 0 0,-1-1 15,1 0-1,-1 0 1,0-1 0,1 1-1,-2-1 1,1 0 0,0 0-1,-1 0 1,0 0 0,0-1-1,0 1 1,0-1 0,-1 1-1,1-4-14,2-6 88,-1-1-1,-1 0 0,0 0 0,-1 0-87,1-76 749,2-24 145,-4 113-897,0-1 0,1 1 0,-1 0 0,1 0 0,-1-1 0,1 1 0,0 0-1,0 0 1,0 0 0,0 0 0,0 0 0,0 0 0,1-1 3,-2 3-3,1 0 0,-1-1 0,0 1 0,1-1 0,-1 1 0,1 0 0,-1 0 1,1-1-1,0 1 0,-1 0 0,1 0 0,-1-1 0,1 1 0,-1 0 0,1 0 0,-1 0 0,1 0 0,0 0 0,-1 0 0,1 0 3,0 0-2,1 1-1,-1-1 1,0 0-1,0 1 1,0-1 0,1 1-1,-1 0 1,0-1-1,0 1 1,0 0 0,0 0-1,1 0 3,11 13-39,0-1 0,-1 2 0,10 13 39,-11-13-44,0 0 0,1-1 0,1-1 0,1 1 44,-6-6-56,-5-5 48,0 0 0,1 0-1,-1-1 1,1 1 0,1 0 8,-4-2-7,0-1 0,0 1-1,0-1 1,0 1 0,0-1 0,1 0-1,-1 0 1,0 1 0,0-1 0,0 0-1,0 0 1,1 0 0,-1 0 0,0 0-1,0-1 1,0 1 0,0 0 0,0 0 0,1-1-1,-1 1 1,0-1 0,0 1 7,6-5 20,0 0-1,-1 0 1,1 0 0,-1 0 0,-1-1 0,1 0-1,-1 0 1,0-1 0,0 0 0,-1 0 0,4-6-20,1-5 42,-1 0 1,0-1 0,-1 0 0,0-4-43,2-17 710,-5 24-184,0 0 0,1 0 0,1-1-526,-6 16-9,1 0 0,0-1 0,-1 1 0,1 0 0,0 0 0,0-1 0,-1 1 0,1 0 0,0 0 0,0 0 0,0 0 0,1 0 9,-2 1-9,1-1 1,-1 1-1,1 0 0,0-1 1,-1 1-1,1 0 0,-1 0 1,1 0-1,-1 0 1,1 0-1,0 0 0,-1-1 1,1 1-1,0 1 0,-1-1 1,1 0-1,-1 0 0,1 0 1,0 0-1,-1 0 9,3 2-37,0-1 1,0 1-1,0 0 0,-1 0 0,1 0 0,0 0 1,-1 0-1,2 3 37,11 8 26,-3-5-21,0-1 1,1 0 0,0 0 0,9 1-6,-15-5 25,0-1 0,0 0 1,0 0-1,0-1 0,1 0 0,-1 0 1,1-1-1,-1 0 0,7 0-25,-10-1 27,0 0-1,-1 0 1,1 0-1,0-1 1,-1 1-1,1-1 1,-1 0-1,0 0 0,1 0 1,-1 0-1,0 0-26,34-33-121,-4 5-182,-19 19 390,-3 4-28,-1-1 0,-1 0 0,6-6-59,-12 11 13,0 0 0,0-1-1,-1 0 1,1 1 0,-1-1-1,0 0 1,0 0 0,0 0-1,-1-1 1,0 1-1,1 0 1,-1-2-13,0-4 30,0-1 0,0 1 0,-1-1 0,-1 1 0,0-1 0,0 1 0,-1 0 0,0-1 0,-1 1 1,0 0-1,-2-3-30,-7-16 23,-2 0 0,-1 1 0,-2-3-23,11 22 4,0 0-1,0 1 1,0-1-1,-1 1 1,0 0-1,-5-4-3,9 10-9,1 0-1,-1 0 1,1 0 0,-1 1-1,1-1 1,-1 0 0,0 1 0,0 0-1,0 0 1,0 0 0,0 0-1,0 0 1,0 1 0,0-1-1,0 1 1,-1 0 0,1 0-1,0 0 1,0 0 0,0 0-1,0 1 1,0 0 0,0-1-1,-2 2 10,0 0-24,0 1 1,0 0-1,0 0 0,0 0 0,1 1 0,-1-1 0,1 1 0,0 0 0,0 1 1,1-1-1,-2 2 24,1 0-14,0 0 0,0 0-1,0 0 1,1 0 0,0 1 0,1-1 0,-1 1 0,1 0 0,0 0 14,2-5 0,0-1 1,-1 1-1,1-1 1,0 1-1,0-1 1,0 1-1,0-1 1,0 1-1,0-1 1,0 1-1,1-1 0,-1 1 1,1-1-1,-1 1 1,1-1-1,-1 1 1,1-1-1,0 0 1,-1 1-1,1-1 0,0 0 1,0 0-1,0 0 1,0 1-1,0-1 1,1 0-1,-1 0 1,0-1-1,0 1 0,1 0 1,-1 0-1,0 0 1,1-1-1,-1 1 1,1-1-1,-1 1 0,7 1 6,0-1 0,0 0 0,0 0 0,0 0 0,0-1 0,3 0-6,-4-1 7,1 1-23,19 0 36,1 0 1,-1 2-1,0 1 0,0 1 0,16 4-20,-38-6 4,0 0-1,0 0 1,-1 0 0,1 0 0,0 1-1,-1 0 1,0 0 0,1 0-1,-1 1 1,0-1 0,-1 1-1,1 0 1,-1 0 0,1 0 0,-1 0-1,-1 1 1,1-1 0,0 1-1,-1 0 1,0 0 0,0-1 0,-1 2-1,1-1 1,-1 0 0,0 0-1,-1 0 1,1 0 0,-1 1-1,0-1 1,0 0 0,-1 1 0,1-1-1,-1 0 1,0 0 0,-1 0-1,1 1-3,-4 5 37,-1 1 0,0-1-1,0 0 1,-1 0-1,0-1 1,-1 0-1,-3 3-36,-14 14-821,-25 20 821,41-38-874,-1-1 1,0-1-1,-1 1 1,1-2-1,-3 2 874,12-8-147,0 1 0,0-1 0,0 1-1,0-1 1,0 0 0,0 1 0,0-1 0,0 0-1,0 0 1,0 0 0,0 0 0,0 0 0,-1 0-1,1 0 1,0 0 147,0 0-85,1-1-1,-1 1 0,1 0 1,-1-1-1,1 1 0,-1 0 1,1-1-1,0 1 1,-1-1-1,1 1 0,-1-1 1,1 1-1,0-1 0,0 1 1,-1-1-1,1 0 1,0 1-1,0-1 86</inkml:trace>
  <inkml:trace contextRef="#ctx0" brushRef="#br0" timeOffset="3.647">4269 1276 2400,'0'0'25,"0"0"0,0 0 1,0-1-1,0 1 0,0 0 1,0 0-1,-1 0 0,1 0 0,0 0 1,0-1-1,0 1 0,0 0 0,0 0 1,0 0-1,-1 0 0,1 0 0,0 0 1,0-1-1,0 1 0,0 0 0,-1 0 1,1 0-1,0 0 0,0 0 0,0 0 1,-1 0-1,1 0 0,0 0 1,0 0-1,0 0 0,-1 0 0,1 0 1,0 0-1,0 0 0,0 0 0,0 0 1,-1 0-1,1 0 0,0 0 0,0 1 1,0-1-1,-1 0-25,-9 9 662,-14 20-117,17-19-456,-101 127 619,84-105-563,12-17-125,2 0 0,0 1-1,0 1-19,7-12-4,0 1-1,1-1 1,0 0-1,0 1 1,0 0 0,1-1-1,0 1 1,0 0-1,0 0 1,1 0-1,0 0 1,0 0 4,0-5-3,0 0-1,1 0 1,-1 0 0,0 0 0,0 0 0,1 0-1,-1 0 1,1 1 0,-1-1 0,1 0-1,-1 0 1,1 0 0,0-1 0,-1 1 0,1 0-1,0 0 1,0 0 0,0 0 0,0-1 0,0 1-1,0 0 1,0-1 0,0 1 0,0-1 3,1 1-8,0 0 1,1 0 0,-1-1 0,0 1-1,0-1 1,1 0 0,-1 0-1,0 0 1,1 0 0,-1 0-1,0 0 1,2-1 7,-1 1-1,0-1 0,0 0-1,0 0 1,1 0 0,-1-1-1,0 1 1,-1-1 0,1 1-1,0-1 2,-1 1 9,-1 0 0,0 0 0,0 0 0,0 0-1,0 0 1,0 0 0,0 0 0,0-1 0,0 1-1,0 0 1,0-1 0,-1 1 0,1 0 0,0-1 0,-1 1-1,0-1 1,1 0-9,-1 0 30,0 0 0,-1 1-1,1-1 1,-1 0 0,1 1 0,-1-1-1,0 0 1,1 1 0,-1-1 0,0 1-1,0-1 1,0 1 0,0 0-1,-1-1 1,1 1 0,0 0 0,0 0-1,-1 0 1,1 0-30,-30-22 750,28 21-700,-7-4 161,-1 1 0,1 0-1,-1 1 1,-5-2-211,-7-2 149,-13-2-53,30 9-108,-1 0-1,1-1 0,0 1 0,0-2 0,0 1 13,6 2-7,-1-1 1,1 1-1,0 0 0,-1-1 0,1 1 0,0 0 0,-1-1 0,1 1 0,0-1 0,-1 1 0,1-1 0,0 1 0,0 0 0,-1-1 1,1 1-1,0-1 0,0 1 0,0-1 0,0 1 0,0-1 0,0 1 0,0-1 0,0 1 0,0-1 0,0 0 0,0 1 0,0-1 0,0 1 1,0-1-1,0 1 0,1-1 0,-1 1 0,0 0 0,0-1 7,9-15-143,-2 7 109,1 0 0,0 0 0,1 1 0,-1 1 0,1-1 0,1 1 0,0 1 0,0 0 0,0 0 0,0 1 0,5-2 34,-13 6-2,1 0 0,-1 1-1,1-1 1,-1 0-1,1 1 1,-1-1 0,1 1-1,-1 0 1,1 0-1,-1 0 1,1 0 0,-1 0-1,1 1 1,-1-1-1,1 1 1,-1-1 0,1 1-1,-1 0 1,0 0 2,1 1-6,0 0 0,0 0 1,0 0-1,0 0 0,-1 1 0,1-1 1,-1 1-1,0-1 0,0 1 0,0 0 1,0 0-1,1 2 6,3 8 2,0 1-1,-1 0 1,-1 0-1,0 1 1,1 12-2,27 178-153,-16-86 284,-8-63-74,-5-24-117,2 0 1,1-1 0,2 1-1,10 26 60,-16-53 8,0 1 0,1-1 0,0 1 0,0-1 1,0 0-1,0 0 0,1-1 0,2 3-8,-4-5 8,-1-1 0,1 0 0,-1 0 0,1 0 0,-1 0 0,1 0 0,-1 0 0,1-1 0,0 1 0,0 0 1,-1-1-1,1 0 0,0 1 0,0-1 0,0 0 0,-1 0 0,1 0 0,0 0 0,0 0 0,0 0 0,-1 0 0,1-1 0,0 1 0,0-1 1,-1 1-1,1-1 0,0 0 0,-1 0 0,2 0-8,10-7 1,-1 1 0,-1-2 0,1 0 1,-1 0-1,-1-1 0,0 0 0,0-1 0,-1 0 0,5-7-1,-11 13 12,-1 1-1,0-1 0,0 1 0,0-1 0,0 0 0,-1 0 0,1 0 0,-1 0 0,-1 0 0,1-3-11,-1 6 3,0 0-1,1 1 1,-1-1-1,-1 0 1,1 1-1,0-1 1,0 1 0,-1-1-1,1 0 1,-1 1-1,1-1 1,-1 1-1,0-1 1,1 1-1,-1-1 1,0 1-1,0-1 1,0 1 0,0 0-1,0 0 1,0 0-1,-1-1 1,1 1-1,0 0 1,-1 0-1,1 1 1,-1-1-1,1 0 1,-1 0 0,1 1-1,-1-1 1,1 1-1,-1-1 1,0 1-3,-4-1 6,1 0 0,-1 1-1,0 0 1,0 0 0,1 0 0,-1 1 0,0 0 0,1 0 0,-1 0 0,1 1 0,-1 0-6,-13 5 74,0 1 1,-9 6-75,-22 9 138,30-15-18,12-4-48,0-1 0,0 0 0,-1-1 0,1 0 0,-5 0-72,13-2 2,-1 1 1,1-1 0,-1 0 0,1 0-1,0 0 1,-1 0 0,1 0 0,-1 0-1,1 0 1,-1-1 0,1 1-1,-1 0 1,1 0 0,-1 0 0,1 0-1,-1-1 1,1 1 0,-1 0-1,1 0 1,0-1 0,-1 1 0,1 0-1,0-1 1,-1 1 0,1 0-1,0-1 1,-1 1 0,1-1 0,0 1-1,0 0 1,-1-1 0,1 1-1,0-1 1,0 1 0,0-1 0,0 1-1,0-1 1,-1 1 0,1-1 0,0 1-1,0-1 1,0 1 0,0-1-1,0 1 1,1-1 0,-1 1 0,0 0-1,0-1 1,0 1 0,0-1-1,0 1 1,1-1 0,-1 1 0,0-1-3,2-5 4,0 0 1,1 1-1,-1-1 1,3-2-5,19-34-835,2 2-1,2 0 0,20-20 836,23-23-3066</inkml:trace>
  <inkml:trace contextRef="#ctx0" brushRef="#br0" timeOffset="3.647">2857 2919 2240,'21'-56'1344,"-8"31"1904,-7 17-2998,0 9-81,5 15-26,-7-9-145,53 88-1412,5 20 1414,-40-72-2010</inkml:trace>
  <inkml:trace contextRef="#ctx0" brushRef="#br0" timeOffset="3.647">2542 3295 2400,'-1'-1'54,"0"0"-1,0 0 1,1 0 0,-1 0-1,0 0 1,1-1 0,-1 1-1,1 0 1,-1 0 0,1 0-1,0-1 1,-1 1 0,1 0-1,0 0 1,0-1 0,0 1 0,0 0-1,0-1-53,1 1 44,0 0-1,-1-1 1,1 1-1,0 0 0,0 0 1,0 0-1,-1 1 1,1-1-1,0 0 1,0 0-1,1 0 1,-1 1-1,0-1 1,0 0-1,0 1 1,0-1-1,1 1 0,-1 0 1,1-1-44,17-7 342,-1-1 1,0-1-1,9-6-342,17-11 114,119-68-364,-121 67-220,-1-1 1,26-27 469,-20 12 517,21-27-517,-49 50 550,-13 12-399,0 1 0,1 0 0,0 0 0,1 1 0,0 0 0,0 1 0,1-1 0,-1 2 0,3-2-151,-10 7-1,0 0 0,0-1-1,0 1 1,0 0 0,0 0-1,0 0 1,0 0-1,0 0 1,0 0 0,1 0-1,-1 0 1,0 0-1,0 0 1,0 1 0,0-1-1,0 0 1,0 1-1,0-1 1,0 1 0,0-1-1,0 1 1,0 0-1,0-1 1,0 1 0,-1 0-1,1-1 1,0 1 0,0 0-1,-1 0 1,1 0-1,-1 0 1,1 0 0,0 1 1,3 5 2,0 1 0,0-1 1,-1 1-1,1 4-2,1 1 4,16 34 9,-5-11-387,-2 0-1,2 11 375,-15-45 107,0-7-208,6-16 108,1-1 0,1 1 1,1 0-1,1 1 0,1 0 1,1 1-1,0 1 0,3-2-7,-14 18 3,0 0 0,0 0-1,1 0 1,-1 0 0,1 0-1,-1 1 1,1-1-1,0 1 1,0 0 0,-1 0-1,1-1 1,0 2-1,0-1 1,0 0 0,0 1-1,3-1-2,4 1-10,0 0 0,1 1-1,-1 0 1,4 1 10,26 2-65,-24-5 57,1 0-1,0-1 1,-1-1-1,1-1 0,-1 0 1,0-1-1,0 0 1,0-2-1,-1 0 0,0 0 1,0-2-1,-1 0 0,6-5 9,-16 11 12,1-1-1,-1 0 0,0 0 0,0 0 0,-1 0 0,1-1 0,-1 1 0,0-1 0,0 0 1,0 0-1,-1 0 0,0-1 0,0 1 0,0 0 0,0-6-11,-1 7 8,0 0-1,-1 0 1,0-1-1,0 1 1,0 0-1,0 0 1,-1-1 0,0 1-1,0 0 1,0 0-1,0 0 1,0 0-1,-1 0 1,0 0-1,0 1 1,0-1 0,0 0-1,-1 1 1,1 0-1,-1-1 1,-2-1-8,4 4 5,0 0 0,1 0 0,-1 1 0,0-1 0,0 0 0,0 1 0,0-1 1,0 0-1,0 1 0,0-1 0,0 1 0,0-1 0,0 1 0,0 0 0,0-1 0,0 1 0,0 0 1,0 0-1,0 0 0,0 0 0,0 0 0,0 0 0,0 0 0,-2 0-5,2 1 18,-1 0 0,1-1 1,0 1-1,-1 0 0,1 0 0,0 0 0,0 0 0,-1 0 1,1 1-1,0-1 0,0 0 0,0 0 0,0 1 0,1-1 0,-2 1-18,-2 6 86,1 1-1,-1-1 0,2 1 1,-1 0-1,-1 6-85,3-8 2,0 0 0,1 0 0,-1 0 0,1 0 1,0 1-1,1-1 0,0 0 0,0 0 0,1 0 0,-1 0 0,3 4-2,-3-7-39,1 0 0,0-1 0,-1 1 0,1-1-1,0 1 1,1-1 0,-1 0 0,0 0 0,1 0 0,0 0 0,0 0 0,0-1 0,0 1 0,0-1 0,0 0-1,1 0 1,-1 0 0,1 0 0,-1-1 0,1 1 0,0-1 0,0 0 39,3 0-116,0 0 0,0-1 1,1 1-1,0-1 116,-8 0-1</inkml:trace>
  <inkml:trace contextRef="#ctx0" brushRef="#br0" timeOffset="3.647">1870 3945 3968,'-23'-4'1472,"23"4"-1120,0-3-128,0 3 384,10 0-384,-2-5 64,5 2-192,4-8-192,5-5 32,9-3 32,2-3 32,2-2-288,3-3 160,10 0-1152</inkml:trace>
  <inkml:trace contextRef="#ctx0" brushRef="#br0" timeOffset="3.647">2008 3949 3904,'0'0'1440,"3"4"-1120,-3-8-96,0 4 320,13 4-352,-3 0-96,-2 4-32,1-1-224,4 5 96,0 7 96,-1 4 0,1 4-96,5 0 32,2 0 32,3-2 0,-1 3-1216,-1-1 672,1 3-1664</inkml:trace>
  <inkml:trace contextRef="#ctx0" brushRef="#br0" timeOffset="3.647">3019 3887 1472,'0'-2'96,"0"1"-1,-1-1 1,1 0-1,-1 0 1,1 1-1,-1-1 1,0 0 0,0 1-1,0-1 1,0 1-1,0-1 1,0 1-1,0-1 1,0 1 0,-1 0-1,1-1 1,-1 1-1,1 0 1,-1 0-1,1 0 1,-1 0 0,1 0-1,-1 1 1,0-1-1,1 0 1,-1 1 0,0-1-1,0 1-95,-5-2 163,0 0 1,0 1-1,0 0 0,0 0 0,0 0 0,0 1 1,0 0-164,-20 3 218,0 0 1,1 2-1,0 1 1,0 1 0,0 1-1,1 1 1,-19 10-219,30-12 14,1 1 1,0 0-1,0 1 0,1 1 1,0 0-1,-10 11-14,17-16-8,0 0-1,0 0 0,1 1 1,0 0-1,0 0 1,0 0-1,1 0 1,0 0-1,0 1 0,1-1 1,0 1-1,0 0 1,0 0-1,1 0 0,-1 7 9,2-12-5,0 1-1,0-1 0,1 0 1,-1 1-1,1-1 0,-1 1 1,1-1-1,0 0 0,0 0 1,0 1-1,0-1 0,0 0 1,0 0-1,1 0 0,-1 0 1,0 0-1,1 0 0,0-1 1,0 1-1,-1 0 0,1-1 1,0 0-1,0 1 0,0-1 1,0 0-1,1 0 0,-1 0 1,0 0-1,0 0 0,1-1 1,-1 1-1,3 0 6,0 0-20,1-1 1,0 1-1,-1-1 0,1 0 1,0 0-1,0-1 0,-1 0 1,1 0-1,0 0 0,-1-1 1,1 1-1,-1-1 0,5-3 20,-1 0 0,0-1 1,0 0-1,-1 0 0,1-1 1,-1 0-1,-1-1 0,1 1 1,-1-1-1,-1-1 0,3-3 0,-1-1 47,0 0 0,-1 0 0,-1-1-1,0 0 1,-1 0 0,-1 0 0,1-3-47,21-86 1402,-26 103-1406,0-1-1,0 1 0,1-1 0,-1 1 0,0-1 0,0 1 1,0-1-1,1 1 0,-1-1 0,0 1 0,1 0 1,-1-1-1,0 1 0,1 0 0,-1-1 0,0 1 0,1 0 1,-1-1-1,0 1 0,1 0 0,-1 0 0,1-1 1,-1 1-1,1 0 0,-1 0 0,1 0 0,0 0 5,0 0 0,1 0-1,-1 0 1,1 0-1,-1 0 0,1 0 1,-1 0-1,0 1 1,1-1-1,-1 1 1,1-1 0,6 4 15,1 0 0,-2 1 0,5 2-15,-5-2-54,-1-2 49,0-1-1,0 1 0,0-1 0,1 0 0,-1 0 0,1-1 0,-1 1 0,1-2 1,0 1-1,-1-1 0,1 0 0,0 0 0,-1-1 0,1 1 0,-1-2 0,3 1 6,-1-2-31,1 1 0,-1-1 0,0-1 0,0 1-1,0-1 1,0-1 0,-1 1 0,1-1 0,-1-1-1,0 1 1,5-7 31,-5 4 14,0 0-1,0 0 1,-1-1 0,0 0-1,0 0 1,-1 0-1,-1 0 1,1-1 0,-2 0-1,1 0 1,-1 0-1,-1-1 1,0 1 0,0-1-1,-1 1 1,0-1-1,-1 1 1,0-1-1,-1 1 1,-1-4-14,-1-6 60,-1 1 1,-1 0-1,-1-1 1,0 2-1,-6-11-60,7 19 77,0 1 0,-1-1 0,0 1 0,0 0 0,-1 0 0,0 1 0,-1 0 0,0 0 0,0 1 0,-8-6-77,15 12 1,0 0 0,-1 0 0,1 1 0,0-1 0,-1 0 0,1 0 0,0 1 1,-1-1-1,1 0 0,-1 1 0,1 0 0,-1-1 0,0 1 0,1 0 0,-1 0 0,1 0 0,-1 0 0,1 0 0,-1 0 0,1 0 0,-1 1 0,-1-1-1,1 2-11,0-1 0,-1 0 0,1 1-1,0 0 1,0-1 0,0 1 0,1 0 0,-1 0-1,0 0 1,1 0 0,-1 1 0,1-1-1,-1 1 12,-2 5-4,1 0 0,0-1-1,0 1 1,0 0 0,1 1-1,0-1 1,1 0 0,0 0-1,0 1 1,1-1 0,0 1-1,0-1 1,1 0 0,0 1-1,1-1 1,2 8 4,-1-4-7,1 1-1,1-1 1,0 1-1,1-1 1,0-1-1,1 1 1,0-1-1,1 0 1,0-1-1,6 6 8,3 1-3,1-1 0,0 0 0,2-1 0,-1-2-1,23 12 4,-28-17 6,1 0 0,1-2 0,-1 0 0,1-1 0,0 0 0,0-1 0,1-1 0,-1-1 0,3 0-6,-12-2 6,0 0 0,0 0 0,1-1 0,-1 1 0,0-2 0,0 1 0,0-1 0,0 0 0,-1 0 1,1-1-1,0 0 0,-1 0 0,0-1 0,0 0 0,0 0 0,0 0 0,-1-1 0,1 0 0,-1 0 0,0 0 0,-1 0 0,1-1 1,2-5-7,-1 1 49,0-1 0,-1 0 0,0 0 0,0-1 0,-2 0 0,1 0 1,-1 0-1,-1 0 0,0 0 0,-1 0 0,0 0 0,-1-1 0,-1-6-49,-5-26 489,-1 0-1,-3 1 1,-1 0-1,-5-5-488,-8-37 286,15 45-355,-8-24-150,14 49 116,3 15 100,0 1 0,0 0 0,1 0 0,-1 0 0,0 0 0,0 0 0,0-1 0,0 1 0,0 0 0,0 0 0,0 0 0,1 0 0,-1 0 0,0 0 0,0 0 0,0 0 0,0-1 0,0 1 0,1 0 0,-1 0 0,0 0 0,0 0 0,0 0 0,0 0 0,1 0 0,-1 0 0,0 0 0,0 0 0,0 0 0,0 0 0,0 0 0,1 0 0,-1 0 0,0 0 0,0 0 0,0 0 0,0 1 0,1-1 0,-1 0 0,0 0-1,0 0 1,0 0 0,0 0 0,0 0 3,3 2-11,0 0 0,-1 0 0,0 0 0,1 0 0,-1 1-1,0-1 1,0 1 0,1 1 11,100 167-989,-47-76-1291,-26-45 909,0-4-938</inkml:trace>
  <inkml:trace contextRef="#ctx0" brushRef="#br0" timeOffset="3.647">3882 3233 2656,'0'5'576,"0"-2"-496,1-1 1,-1 1-1,0-1 0,-1 1 1,1-1-1,0 0 0,-1 1 1,0-1-1,1 0 0,-1 1 1,0-1-1,0 0 0,0 0 1,0 0-1,-1 1-80,-24 32 947,-1-1 0,-2-1 0,-29 25-947,35-36 220,20-19-192,1 0-1,-1 0 1,1 0-1,-1 1 0,1-1 1,0 1-1,0 0-27,1-3-1,1-1-1,0 1 1,0-1 0,-1 1-1,1 0 1,0-1 0,0 1-1,0-1 1,0 1 0,0 0-1,0-1 1,0 1-1,0 0 1,0-1 0,0 1-1,0-1 1,0 1 0,0 0-1,0-1 1,0 1 0,1-1-1,-1 1 1,0-1 0,1 1-1,-1 0 1,0-1 0,1 1-1,-1-1 1,0 0-1,1 1 1,-1-1 0,1 1-1,-1-1 1,1 1 0,-1-1-1,1 0 1,-1 0 0,1 1-1,-1-1 1,1 0 0,0 0-1,-1 1 1,1-1-1,-1 0 1,1 0 0,0 0-1,0 0 2,5 1 19,0-1-1,0 0 1,0 0-1,0-1 0,0 0 1,0 0-1,0 0 1,1-1-19,3 0-52,37-11-1074,0-1-1,0-3 1,-2-2-1,30-17 1127,1-2-1808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4:03:59.84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483 8 2912,'-1'-1'340,"1"1"-296,0 0 0,0 0 1,0 0-1,0 0 0,0 0 1,0 0-1,0 0 0,0 0 0,0 0 1,0 0-1,0 0 0,0 0 1,0 0-1,0 0 0,0 0 0,0 0 1,0 0-1,0 0 0,0 0 0,0-1 1,0 1-1,0 0 0,0 0 1,0 0-1,0 0 0,0 0-44,9 2 184,13 4-372,-12-4 238,-1 0 0,1 0 0,4 0-50,99-1 2057,86-9-2057,-80 1 556,224 0-540,226 29-16,-396-6 101,-62-4 145,233 41 357,-317-48-612,-1 1 1,2 3 8,-17-6 49,-1 1 1,1 1 0,-1 0 0,0 0 0,-1 1 0,4 2-50,-12-7 40,0 0 0,0-1 0,0 1 0,0 0 0,0 0 0,0 0 0,0-1 0,-1 1 0,1 0 0,0 0 0,0 0 0,-1 1 0,1-1 0,-1 0 0,1 0-1,-1 0 1,0 0 0,1 0 0,-1 1 0,0-1 0,0 0 0,1 0 0,-1 1 0,0-1 0,-1 0 0,1 0 0,0 1 0,0-1 0,0 0 0,-1 0 0,1 0-1,0 0 1,-1 1 0,1-1 0,-2 1-40,-1 3 232,-1 1-1,-1-1 0,1 1 0,-1-1 1,0-1-1,-2 3-231,-12 12 164,1 8-267,1 0 0,1 1 1,1 0-1,-4 16 103,-2 10-80,-10 50 80,28-95-5,-46 184-251,34-101 156,4 0 1,1 48 99,3-41 28,-9 325-285,11-209 98,0 482-22,11-169 320,-7-339 538,-9 133-213,9-238-470,-10 68 6,1-58 96,-6 47-85,1-27-236,7-52 343,-11 46-118,3-38-90,-8 33-54,-5 11 512,15-65 41,1-8-168,-8 18-241,6-14-6,8-25-50,-1-1 1,-2 4 55,-11 21-18,-34 62-28,33-63 27,16-30 72,-1 1 0,-1-1-1,0 0 1,-2 2-53,-16 23 43,23-34 78,3-3 219,12-2-241,16-1-179,0 0 0,11-4 80,-5 1-70,4-2-4,-21 4 18,1 0 0,8 1 56,212-11-208,28-2 55,123-4-190,175 43 209,-395-13 51,788 62-276,-553-29 192,-43-4 14,-138-16 81,7 2-496,70-8 568,-148-18-1200,3-7-3200</inkml:trace>
  <inkml:trace contextRef="#ctx0" brushRef="#br0" timeOffset="1474.851">1758 84 224,'8'-19'96,"-3"8"-64</inkml:trace>
  <inkml:trace contextRef="#ctx0" brushRef="#br0" timeOffset="2666.356">1534 73 2080,'-5'4'771,"5"-4"-744,0 0 0,0 0 0,0 0 0,0-1 0,0 1 0,0 0-1,0 0 1,0 0 0,0 0 0,-1 0 0,1 0 0,0 0 0,0 0 0,0 0 0,0 0 0,0 0 0,0 0-1,0 0 1,0 0 0,0 0 0,0 0 0,0 0 0,0 0 0,0 0 0,-1 0 0,1 0 0,0 0 0,0 0 0,0 0-1,0 0 1,0 0 0,0 0 0,0 0 0,0 0 0,0 0 0,0 0 0,0 0 0,0 0 0,-1 0 0,1 0-1,0 0 1,0 0 0,0 0 0,0 0 0,0 0 0,0 0 0,0 0 0,0 0 0,0 0 0,0 0 0,0 0 0,0 0-27,0 1 20,0-1 0,0 0 1,0 0-1,0 0 1,0 0-1,0 1 0,0-1 1,0 0-1,0 0 1,0 0-1,0 0 0,0 0 1,-1 1-1,1-1 1,0 0-1,0 0 1,0 0-1,0 0 0,0 0 1,0 1-1,0-1 1,0 0-1,0 0 0,-1 0 1,1 0-1,0 0 1,0 0-1,0 0 0,0 0 1,0 0-1,-1 1 1,1-1-1,0 0 1,0 0-1,0 0 0,0 0 1,-1 0-1,1 0 1,0 0-1,0 0 0,0 0 1,0 0-1,-1 0 1,1 0-21,-8-3 794,2 1-295,-36-6 872,-64 3 185,-2-1-600,-21 10 342,-11 6-1298,-129 20 223,243-26-181,-258 35-945,55-7-1192,55-9-2507</inkml:trace>
  <inkml:trace contextRef="#ctx0" brushRef="#br0" timeOffset="7352.969">2344 3539 1472,'7'3'88,"0"1"1,0 0-1,-1 0 0,1 0 0,-1 1 1,0 0-1,1 1-88,18 13 86,202 152 402,-162-120-379,13 8 677,10 2-786,-52-39 231,0-2-1,1-1 1,37 13-231,-26-14 194,1-3 0,0-1 0,1-3 1,1-2-1,-1-2 0,1-2 0,6-3-194,37-2 410,1-5-1,21-6-409,-80 6 57,-1-2 1,1-1-1,-2-2 1,1-1 0,-1-2-1,-1-2 1,13-7-58,21-18 116,-2-3 1,-2-3-1,-1-2 1,-3-3-1,-3-2 0,13-18-116,-15 14 87,-22 25-64,-2-1 1,16-25-24,-31 37 234,0 0 0,-2-1-1,-1-1 1,0 0 0,-2-1 0,-1 0 0,5-17-234,-13 36 11,0-1-1,-1 1 1,0-1 0,0 0-1,0-4-10,0 5-45,-1 0 0,1 0-1,1 0 1,-1 0 0,1 0-1,1-4 46,2 2-592,0 3-1722</inkml:trace>
  <inkml:trace contextRef="#ctx0" brushRef="#br0" timeOffset="8959.174">2478 1493 224,'63'-34'240,"-46"25"191,1 0-1,-2-2 1,1 0 0,11-10-431,18-20 584,1 3 1,2 2 0,25-13-585,-26 22 140,1 3 0,1 2-1,2 2 1,0 2 0,14-1-140,57-11 13,111-13-13,-159 34 10,1 4 0,0 3 0,60 6-10,-70 3 255,0 2 0,-1 3 0,4 3-255,-22-2 235,-2 2 0,0 2 1,-1 2-1,27 16-235,-2 3 400,-1 3 0,22 21-400,125 95 923,-210-153-834,0 0 0,0 0 0,-1 1 0,1 0 0,3 5-89,7 7 440,-14-16-205,-1-1 10,-13 0-16,-3-8-1871,7 0 714</inkml:trace>
  <inkml:trace contextRef="#ctx0" brushRef="#br0" timeOffset="11227.532">4123 3275 1056,'-1'-1'52,"1"0"-1,0 0 1,0 0-1,0 0 1,0 0-1,0-1 1,0 1-1,1 0 1,-1 0 0,0 0-1,1 0 1,-1 0-1,0 0 1,1 0-1,-1 0 1,1 0 0,0 0-1,-1 1 1,1-1-1,0 0 1,0 0-52,5-9 997,-5 9-924,1-1 0,-1 1 0,0-1 0,1 1 0,-1-1 0,1 1 0,-1 0 0,1 0 0,0-1 0,0 1 0,0 1 0,-1-1 0,2 0-73,29-9 229,-9 3 636,-8 3-689,-1 0 0,1 1 1,0 0-1,10 0-176,19-3-92,18-4 311,-18 3-185,0-2-1,0-2 1,-1-2-34,-11 2 300,-1-1 1,0-2-1,1-2-300,-16 8-13,0 1 1,0 1-1,0 1 0,1 0 0,14-2 13,0 6 50,-21 1-36,5-3 135,-15 3-96,1 0-1,-1 0 1,1 1-1,-1-1 1,1 0-1,-1 0 1,1 1-1,-1-1 0,1 0 1,-1 1-1,1-1 1,-1 1-1,0-1 1,1 0-1,-1 1 1,1-1-1,-1 1 0,0-1 1,0 1-1,1-1 1,-1 1-1,0-1 1,0 1-1,0-1 1,1 1-1,-1 0 1,0-1-1,0 1 0,0-1 1,0 1-1,0-1 1,0 1-1,0 0-52,-1 27-330,1-16 481,-3 27-75,-1 0 1,-2 0-1,-2 0 0,-7 20-76,3-12 175,7-26-92,-2 0-1,0 0 0,-1-1 0,-1 0 0,-7 11-82,16-30-124,-1-1 0,1 1 1,0 0-1,-1 0 0,1 0 0,-1-1 0,1 1 0,-1 0 1,1-1-1,-1 1 0,0 0 0,1-1 0,-1 1 1,0-1-1,0 1 0,1-1 0,-1 1 0,0-1 0,0 1 1,1-1-1,-1 0 0,0 0 0,-1 1 124,-3-6-3525</inkml:trace>
  <inkml:trace contextRef="#ctx0" brushRef="#br0" timeOffset="12758.252">2650 1065 1248,'0'2'64,"-1"-1"0,1 0 0,0 1 0,-1-1 0,1 1 0,-1-1 0,0 0 0,1 1 0,-1-1 0,0 0 0,0 0 0,0 0 0,0 1-64,-8 13 432,-5 10 90,-1-1-1,-1-1 1,-1 0 0,-5 4-522,-17 23 425,-93 152-201,125-190-224,-58 91 1290,64-102-1338,1-1 107,5 0 51,0-1-1,1 0 1,-1 1 0,0-2-1,2 0-109,-2 1 127,0 0 1,0 0-1,0 0 0,0 0 0,3 1-127,27-2 49,-18 1 60,0 1 0,6 0-109,-2 2 168,0 2 1,0 0 0,-1 1 0,10 4-169,78 32 54,-73-27 38,-30-12-125,6 3-147,0-1 0,0 0 0,1 0 0,-1-1 0,1 0 0,0-1 0,0-1 0,0 0 0,1 0 180,16-4-1152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5:59:37.18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1 177 4224,'-2'-3'424,"2"2"-357,-1 1 0,1-1 1,0 1-1,-1-1 0,1 1 1,0-1-1,-1 1 0,1-1 0,0 1 1,-1 0-1,1-1 0,-1 1 0,1 0 1,-1-1-1,1 1 0,-1 0 0,1-1 1,-1 1-1,1 0 0,-1 0 1,0 0-1,1 0-67,-1 0 261,1 0-85,0 0-144,-1 23-94,-2 1 0,-4 20 62,0-2-95,2-3 103,2 1-1,1-1 0,3 1 0,0 0 0,3-1 0,5 23-7,-1-16-1061,-3-26-427</inkml:trace>
  <inkml:trace contextRef="#ctx0" brushRef="#br0" timeOffset="716.207">58 150 2080,'0'-1'47,"-1"1"1,1 0-1,-1 0 1,1-1-1,-1 1 1,1 0-1,0-1 1,-1 1-1,1-1 1,-1 1-1,1 0 0,0-1 1,0 1-1,-1-1 1,1 1-1,0-1 1,0 1-1,-1-1 1,1 1-1,0-1 1,0 1-1,0-1 1,0 1-1,0-1-47,0 0 12,1 0 1,0 1-1,0-1 1,0 0-1,-1 1 1,1-1-1,0 1 1,0-1-1,0 1 1,0 0-1,0-1 1,0 1-1,0 0 1,0 0-1,0-1 1,1 1-13,7-1 29,0 0 0,1 1 1,-1-1-1,0 2 1,2 0-30,15 0 114,-3-1-35,0 1 1,1 2-1,-1 0 1,-1 2-1,1 0 0,0 2 1,-1 0-1,-1 2 1,1 0-1,4 4-79,-14-6 23,0 0-1,0 0 1,-1 1 0,0 1-1,0 0 1,-1 0-1,-1 1 1,1 1 0,-2-1-1,1 1 1,-1 1-1,-1-1 1,0 1 0,-1 1-1,0-1 1,-1 1 0,3 11-23,-7-17 64,1-1 0,-1 1 0,-1-1 0,1 1 0,-1-1 0,0 1 0,-1-1 0,0 1 0,0-1 0,0 1 0,-1-1 0,0 0 0,0 1 1,0-1-1,-1 0 0,0 0 0,0-1 0,-1 1 0,1-1 0,-1 1 0,0-1 0,-1 0 0,-2 2-64,-6 5 160,-2 1 0,1-2-1,-2 0 1,1-1 0,-1 0 0,-1-1-1,-12 4-159,21-10-28,0 0 0,-1 0-1,1-1 1,-1 0-1,0-1 1,1 0-1,-1 0 1,-7-1 28,1-1-679,0 0 0,0-1 0,1 0 0,-12-4 679,-4-2-2395</inkml:trace>
  <inkml:trace contextRef="#ctx0" brushRef="#br0" timeOffset="1239.861">756 143 2912,'1'0'71,"0"-1"1,0 1-1,1-1 0,-1 1 0,0-1 1,1 1-1,-1 0 0,0 0 1,1 0-1,-1 0 0,1 0 1,-1 0-1,0 0 0,1 0 1,-1 1-1,0-1 0,1 0 1,-1 1-1,0-1 0,1 1 0,-1 0 1,0-1-1,0 1 0,1 0-71,3 2 37,0-1-1,1 2 0,-1-1 1,0 1-1,0 0-36,-2 0 36,0 0 0,-1 0 0,1 0 0,-1 0 0,0 0 0,0 0 0,-1 1-1,1-1 1,-1 1 0,0-1 0,0 3-36,3 9 85,0 2 1,-1 1 0,0-1-1,-1 13-85,0-9 101,0 0 0,3 8-101,7 42 7,-8-45-184,0-1 0,7 17 177,1 10-1072,-8-32-21</inkml:trace>
  <inkml:trace contextRef="#ctx0" brushRef="#br0" timeOffset="1824.879">752 173 2976,'-4'-5'355,"3"5"-293,0-1-1,0 0 1,0 0-1,1 0 0,-1 0 1,0 0-1,1 0 1,-1 0-1,1 0 1,-1 0-1,1 0 1,-1 0-1,1-1 1,0 1-1,-1 0 1,1-1-62,0 1 18,1 1 1,-1-1-1,1 0 1,-1 1 0,1-1-1,-1 1 1,1-1 0,-1 0-1,1 1 1,0 0 0,-1-1-1,1 1 1,-1-1-1,1 1 1,0 0 0,0-1-1,-1 1 1,1 0 0,0 0-1,0 0-18,17-5-42,2 3 0,1 1 0,-1 1 0,0 1 1,0 1-1,0 1 0,0 1 0,11 3 42,-27-6-10,0 1 1,0-1-1,0 1 1,-1 0-1,1 0 1,-1 1 0,1-1-1,-1 1 1,0 0-1,1 0 1,-1 0-1,-1 0 1,1 0-1,1 2 10,-3-3 3,0 0-1,1 0 1,-1 1 0,0-1-1,0 0 1,0 1 0,-1-1-1,1 1 1,0-1 0,-1 0-1,0 1 1,0-1-1,1 1 1,-1 0 0,-1-1-1,1 1 1,0-1 0,-1 1-1,1-1 1,-1 0 0,0 1-1,0-1 1,0 0 0,-1 3-3,-4 6 42,-1 0 0,-8 10-42,11-17-1,1 0 0,-1 0-1,0 0 1,0 0 0,0-1 0,-1 1-1,1-1 1,-2 0 1,6-3 0,-1 0 0,1 0 0,0 0 0,0 1 0,0-1 0,0 0-1,0 0 1,0 0 0,0 0 0,0 0 0,-1 0 0,1 0 0,0 0 0,0 0 0,0 0 0,0 0-1,0 1 1,0-1 0,0 0 0,0 0 0,0 0 0,0 0 0,0 0 0,0 0 0,0 0 0,0 1-1,0-1 1,0 0 0,0 0 0,0 0 0,0 0 0,0 0 0,0 0 0,0 0 0,0 1 0,0-1-1,0 0 1,0 0 0,0 0 0,0 0 0,0 0 0,0 0 0,0 0 0,0 0 0,0 0-1,0 1 1,1-1 0,-1 0 0,0 0 0,0 0 0,0 0 0,0 0 0,0 0 0,0 0 0,0 0-1,0 0 1,0 0 0,1 0 0,-1 0 0,0 0 0,0 0 0,0 0 0,0 0 0,0 0 0,0 0 0,7 3 1,-7-3-1,31 9 13,-13-4 6,1 1 0,-1 0-1,-1 2 1,1 0 0,8 6-19,-14-7 17,-1 1 1,0 1 0,0 0-1,-1 0 1,-1 1 0,2 1-18,-8-7 42,1 0 0,-1 1 1,0-1-1,0 1 1,-1-1-1,0 1 0,1 0 1,-1 0-1,-1 0 1,1 0-1,-1 0 0,0 0 1,0 0-1,0 0 0,-1 1 1,0-1-1,0 4-42,-1-5 61,0 0-1,0-1 1,0 1-1,-1 0 1,0-1-1,1 0 1,-1 1-1,0-1 1,-1 0-1,1 0 1,-1 0-1,1 0 1,-1-1-1,0 1 1,0-1-1,0 1 1,0-1-1,0 0 1,-2 1-61,-8 4 70,0-1 0,-1 0 0,1-1-1,-8 2-69,10-4-29,0 0-1,0-1 0,-1 0 1,1-1-1,0 0 0,-1-1 0,-5-1 30,-13-1-1354</inkml:trace>
  <inkml:trace contextRef="#ctx0" brushRef="#br0" timeOffset="2294.805">1177 40 992,'2'-3'36,"0"1"0,0 0 0,0-1 0,0 1 0,0 0 0,0 0 0,0 0 0,1 1 0,-1-1 0,1 1 0,-1-1 0,1 1 0,0-1-36,3 0 107,0 0 0,1 0 0,-1 0 1,1 1-1,-1 0 0,1 0-107,11 0 326,-1 1 0,1 0 1,-1 2-1,6 1-326,3 1 123,-1 2-1,0 0 1,0 2 0,-1 1-1,0 1 1,-1 1 0,0 0-1,0 2 1,-1 1 0,-1 1-1,-1 1 1,0 0 0,-1 2-1,0 0 1,-2 1 0,9 13-123,-6-6 275,0 1 0,-2 0 1,8 18-276,-21-35 112,0 0 0,-1 0 0,0 0 0,-1 0 0,0 1 0,0-1 0,-1 1 0,-1 0 0,0 0 0,0-1 0,-1 1 0,-1 9-112,0-13 8,-1 0-1,1-1 1,-1 1-1,-1-1 1,1 0-1,-1 0 1,0 0 0,-1 0-1,0 0 1,1-1-1,-2 1 1,0 1-8,-33 31-1264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5:59:33.64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53 0 896,'-5'1'275,"-1"-1"0,1 1 0,-1 0 0,1 1 0,-3 0-275,-12 3 652,-79 22 820,85-23-1466,0 1 0,1 0 0,0 1 1,0 1-1,0 0 0,0 1 1,-3 3-7,-20 12 334,33-21-309,0 1-1,0-1 1,0 1 0,0 0-1,0 0 1,1 0-1,-1 0 1,1 0-1,0 0 1,0 1 0,0-1-1,1 1 1,-1-1-1,1 1 1,0 0-1,-1 1-24,-1 11 183,0 0 0,0 0 0,1 6-183,1-9 199,-2 15-108,2 1-1,1-1 0,2 0 0,0 1 0,2-1 0,1 0 0,1-1 0,1 1 0,3 2-90,-1-8-16,1-2 0,1 1 0,1-1 0,0-1 0,2 0 0,0-1 0,1-1 0,11 10 16,-15-17-89,0 0 0,1-1-1,6 4 90,-12-9-47,-2-1 1,1-1 0,-1 0 0,1 0 0,-1 0 0,1 0 0,-1-1 0,1 0 0,0 0 0,0 0 0,0-1 0,0 1 0,0-1 0,0 0 0,0-1 0,1 1 46,7-2-509,-1 0-1,1-1 1,-1 0 0,0-1-1,3-2 510,28-12-1701</inkml:trace>
  <inkml:trace contextRef="#ctx0" brushRef="#br0" timeOffset="1118.221">702 280 896,'1'0'19,"-1"-1"1,0 0-1,1 0 1,-1 0-1,0 0 0,1 0 1,-1 0-1,0 0 1,0 0-1,0 0 1,0 1-1,0-1 0,0 0 1,0 0-1,0 0 1,0 0-1,0 0 0,-1 0 1,1 0-1,0 0 1,0 0-1,-1 0-19,-13-19-63,6 11 451,5 5-294,0 1 1,0 0-1,-1 0 0,0 0 1,1 1-1,-1-1 1,0 1-1,0 0 0,0 0 1,0 0-1,-1 0 0,1 1 1,-1 0-1,1 0 1,0 0-1,-4 0-94,-7-1 108,0 1 0,0 1-1,0 0 1,-6 1-108,9 0-12,0 1-1,0 0 0,0 1 1,1 0-1,-1 0 1,1 2-1,-1-1 0,1 1 1,-2 3 12,9-6-20,0 0-1,1 0 1,-1 1 0,1-1-1,0 1 1,-1 0 0,1 0 0,1 0-1,-1 1 1,0-1 0,1 1-1,0-1 1,-1 1 0,2 0-1,-1 0 1,0 0 0,1 0 0,0 0-1,-1 0 1,2 0 0,-1 1-1,0-1 1,1 0 0,0 0 0,0 1-1,0-1 1,1 3 20,0-4-17,0 1-1,0-1 1,0 1 0,1-1 0,-1 0-1,1 1 1,0-1 0,0 0 0,0 0-1,0 0 1,0-1 0,1 1 0,-1 0-1,1-1 1,0 0 0,0 1 0,0-1-1,0 0 1,0-1 0,0 1 17,12 6-22,0-2 0,0 1 0,16 3 22,-10-4-16,9 6-197,24 12 213,-52-23 14,0 0 0,0 0 0,0 0 0,0 1 0,0-1 0,0 1 0,-1-1 0,1 1 0,-1 0 0,1-1 0,-1 1 0,1 0 0,-1 0 0,0 0 0,0 0 0,0 0 0,0 0 0,0 0 0,-1 0 0,1 1 0,-1-1 0,1 0 0,-1 0 0,0 1 0,0-1 0,0 0 0,0 1 0,0-1 0,-1 0 0,1 0 1,-1 1-1,1-1 0,-1 0 0,0 0 0,0 2-14,-3 2 114,0-1 0,0 0 0,0 0 1,-1 0-1,0 0 0,0-1 1,0 1-1,0-1 0,-1-1 1,1 1-1,-1-1 0,0 0 0,0 0 1,0 0-1,-1-1-114,-19 7 302,-1-2-1,1 0 1,-4-2-302,12-1-54,2-2-3,0 0 1,0-1-1,0-1 1,0 0-1,-2-1 57,-8 0-517</inkml:trace>
  <inkml:trace contextRef="#ctx0" brushRef="#br0" timeOffset="1786.562">1013 226 1664,'-3'1'75,"1"0"0,0-1 0,0 1 0,0 0 0,0 0 0,0 0 1,0 1-1,0-1 0,0 0 0,0 1 0,0-1 0,1 1 0,-1 0 0,0-1 0,1 1 0,0 0 0,-1 0 0,1 0 1,0 0-76,-6 8 251,2 1 1,-1-1-1,-1 5-251,-2 9 266,0-1 0,2 1-1,1 1 1,-2 16-266,6-29 39,0 0 0,1 1-1,1-1 1,0 0 0,1 0 0,0 0 0,1 0-1,0 0 1,1 0 0,3 8-39,-4-15 24,0 0-1,0 0 1,1 0 0,-1-1 0,1 1 0,1-1-1,-1 1 1,0-1 0,1 0 0,0 0 0,0-1 0,0 1-1,1 0-23,-1-2 82,-1-1-1,0 1 1,1 0-1,-1-1 0,1 0 1,-1 0-1,1 0 0,-1 0 1,1-1-1,0 1 1,-1-1-1,1 0 0,0 0 1,0-1-1,-1 1 1,1-1-1,0 1 0,-1-1 1,4-1-82,0-1 122,0 0 0,0 0 0,0-1 1,0 0-1,-1 0 0,1-1 0,-1 1 1,0-1-1,-1-1 0,1 1 0,-1-1 1,0 0-1,0 0 0,-1 0 0,0-1 0,0 0 1,-1 0-1,1 0 0,1-6-122,0-1 140,-1 0 0,-1 0 0,0 0 0,0 0 0,-2 0 0,1-1 0,-2 1 0,0 0 0,-1-1 0,-1-2-140,0 0-21,-1 1-1,-1-1 0,0 1 1,-2 0-1,-1-3 22,3 10-235,-1 0 1,1 0 0,-2 0-1,1 1 1,-1 0-1,0 0 1,-1 0-1,0 1 1,-2-1 234,-17-13-976</inkml:trace>
  <inkml:trace contextRef="#ctx0" brushRef="#br0" timeOffset="2357.19">775 678 1568,'-5'-6'679,"9"0"-45,3-1-496,0 0-101,1 1 0,-1-1 1,1 1-1,1 0 1,-1 1-1,1 0 0,0 0 1,0 1-1,1 0 1,-1 1-1,7-2-37,0 1 29,-1 1 0,0 0-1,1 2 1,-1-1 0,1 2 0,-1 0 0,4 1-29,-4 1 93,-1 1 1,0 0-1,0 1 0,-1 0 0,1 1 1,5 3-94,24 14 315,9 6-315,-43-22 3,0 0 1,0 0 0,-1 1 0,0 0 0,0 0 0,-1 1 0,0 0 0,0 0 0,-1 1 0,0-1 0,0 2 0,-1-1 0,0 0 0,-1 1-1,0 0 1,0 0 0,-1 0 0,-1 1 0,2 10-4,9 47-2074,-9-52 719</inkml:trace>
  <inkml:trace contextRef="#ctx0" brushRef="#br0" timeOffset="2851.713">1568 237 1056,'1'0'12,"-1"0"1,1 0-1,-1 1 0,1-1 0,-1 0 1,0 0-1,1 0 0,-1 0 1,1 0-1,-1 0 0,1 1 0,-1-1 1,0 0-1,1 0 0,-1 1 1,0-1-1,1 0 0,-1 0 1,0 1-1,1-1 0,-1 0 0,0 1 1,1-1-1,-1 1 0,0-1 1,0 0-1,0 1 0,1-1 0,-1 1 1,0-1-1,0 1 0,0-1 1,0 0-1,0 1 0,0-1 1,0 1-1,0-1 0,0 1 0,0-1 1,0 1-1,0-1 0,0 1 1,0-1-1,0 1-12,-8 24-69,6-18 173,-18 53 130,6-19 967,1 7-1201,12-44 59,0 0 1,0 0-1,1 0 1,0 0-1,0 0 1,0 1-1,0-1 1,0 0-1,1 0 1,0 0-1,0 0 1,0 0-1,0 0 1,1 0-1,-1 0 1,2 0-60,0 1 63,0 0 1,0 0-1,1 0 1,0-1 0,0 0-1,0 0 1,1 0-1,0 0 1,-1 0-1,5 1-63,5 3 98,0-1-1,1-1 1,0 0-1,0-1 1,0 0-1,1-1 1,0-1-1,2 0-96,12 0 3,0-2 0,0-1 0,1-1 1,-1-1-1,11-3-4,-15 0-688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6:00:13.92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51 3 896,'0'0'15,"-1"-1"1,1 1-1,-1 0 0,1 0 1,-1-1-1,0 1 0,1 0 1,-1 0-1,1 0 0,-1-1 1,1 1-1,-1 0 0,0 0 1,1 0-1,-1 0 0,1 0 1,-1 0-1,0 0 0,1 0 1,-1 0-1,1 1 1,-1-1-1,1 0 0,-1 0 1,1 0-1,-1 1 0,1-1 1,-1 0-1,1 1 0,-1-1-15,-1 1 4,1 0 1,0 0-1,-1 0 0,1 0 0,0 0 1,0 1-1,0-1 0,0 0 0,0 1 0,0-1 1,0 1-5,-13 26 36,5-10 53,0 1 0,1-1 1,1 3-90,-5 21 258,2 0 1,2 1 0,1-1-1,2 17-258,4-48 9,2 0 0,-1 1 0,1-1 0,1 0 0,0 0-1,1 0 1,2 6-9,-4-12 10,1-1 0,-1 0 0,1 0 0,0 0 0,0 0 0,0 0 0,1 0 0,-1 0 0,1-1 0,0 1-1,0-1 1,1 0 0,-1 0 0,0 0 0,1 0 0,0-1 0,0 1 0,0-1 0,3 1-10,-4-2 38,-1 0 0,1-1 0,0 1 0,0-1 0,-1 0 0,1 0 0,0 0 0,0 0 0,-1 0 0,1-1 0,0 1 0,-1-1 0,1 0 0,0 0 0,-1 0 0,1 0 0,-1 0 0,1-1 0,-1 1 0,0-1 0,0 1 0,1-1 0,-1 0 0,0 0 0,-1 0 0,1 0 0,0 0 0,0 0 0,0-3-38,2 0 33,-1 0 0,0 0 0,-1 0 0,1-1 0,-1 1 0,0-1 0,-1 0 0,1 1 0,-1-1 0,0 0 0,0 0 0,-1 0 0,0-3-33,-1-1 95,0 0 0,0 0 0,-1 0 1,-1 1-1,0-1 0,0 1 0,-1-1 1,0 1-1,-1 0 0,0 0 1,0 1-1,-6-8-95,6 10 2,1 1 0,-1 1-1,0-1 1,0 1 0,0 0 0,-1 0 0,1 0 0,-1 1 0,0 0-1,0 0 1,0 0 0,0 1 0,-1 0 0,1 0 0,-1 1 0,1-1-1,-1 1 1,0 1 0,-5-1-2,4 2-46,6-1 37,1 0 0,-1 0 0,0 0 0,0 0 0,1 0 0,-1 0 0,0 0 0,1-1 0,-1 1 0,0-1 0,1 1-1,-1-1 10,10-5 16,30-10-45,0 1 0,23-5 29,-45 15-21,0 1 1,0 1-1,1 1 1,-1 0-1,0 1 0,1 1 1,10 1 20,-20 0-5,0 0 1,0 1-1,0-1 1,0 2-1,0-1 1,0 1-1,-1 0 1,1 0-1,-1 1 1,0 0-1,0 0 1,0 0-1,0 1 1,-1 0-1,2 2 5,3 4 22,-1 0 0,0 1 0,0 0 0,-1 0 0,-1 1 0,6 12-22,-7-12-7,0 0 0,-1 1 0,0 0 0,-1-1 1,-1 2-1,0-1 0,0 9 7,6 33 117,-9-56-114,0 1-1,-1-1 0,1 0 1,0 0-1,0 0 1,0 0-1,0 0 0,0 0 1,0 1-1,0-1 1,0 0-1,0 0 1,-1 0-1,1 0 0,0 0 1,0 0-1,0 0 1,0 0-1,0 0 0,0 0 1,-1 0-1,1 1 1,0-1-1,0 0 1,0 0-1,0 0 0,-1 0 1,1 0-1,0 0 1,0 0-1,0 0 0,0 0 1,0 0-1,-1-1 1,1 1-1,0 0 1,0 0-1,0 0 0,0 0 1,0 0-1,0 0 1,-1 0-1,1 0 0,0 0 1,0 0-1,0 0 1,0-1-1,0 1 1,0 0-1,0 0-2,-7-4-4,5 1-2,0 0-1,0 0 0,0 0 0,0-1 0,1 1 0,-1 0 0,1-1 0,0 1 1,0 0-1,1-1 0,-1 1 0,0-3 7,-3-15 34,-1-3 66,1 0-1,1-1 0,1 0 1,2 0-1,1-14-99,-1 5 42,0 24-49,0 1-1,1-1 1,0 1-1,0 0 1,1-1-1,1-3 8,-2 11-7,-1 1 0,1-1 0,-1 1 0,1-1 0,0 1 0,0-1-1,-1 1 1,1-1 0,0 1 0,0 0 0,0 0 0,1-1 0,-1 1-1,0 0 1,0 0 0,1 0 0,-1 0 0,0 0 0,1 1-1,-1-1 1,1 0 0,-1 1 0,1-1 0,0 1 0,-1-1 0,1 1-1,-1 0 1,1 0 0,0-1 0,-1 1 0,1 0 0,0 1 0,-1-1-1,1 0 1,0 0 0,-1 1 0,1-1 0,-1 1 0,1-1-1,0 1 8,8 3-8,0 0-1,-1 1 1,1 0-1,-1 1 1,0 0-1,0 1 9,52 43-75,-21-16 121,-4-4-192,-2 0-1,0 2 1,-3 2-1,13 17 147,-21-17-177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2D9CDC-48E6-4CE3-9119-A1BF3839208E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A7983D-E8BD-4EC8-991D-1D8A8031C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352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430C9-2443-4FD6-9162-F44D32FAF9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5140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2/2018 9:47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84077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68121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05615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2/2018 9:47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74181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93617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lways remember, your algorithm or code never breaks in the ML world, it is data which will break the model. So Logging the data feed is very important.</a:t>
            </a:r>
          </a:p>
          <a:p>
            <a:r>
              <a:rPr 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Shadow Models are set up like Pre-Prod Environmen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2/2018 9:47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8953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6293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6123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2595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03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4453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1284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3570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9852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87665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2/2018 9:47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1251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2/2018 9:52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08891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2/2018 10:01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078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What’s the next best thing?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Taking the analytics piece and expanding that furthe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I’m analyzing all of the data I have today (traditionall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Now, I want to process images, videos (DL), and have intelligent agents and bots (AI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06464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6472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icrosoft Build 20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2/2018 9:47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75968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2515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tabricks, founded by the team that created Apache Spark – unified analytics platform that accelerates innovation by unifying data science, engineering &amp; busin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75% of the code committed to Apache Spark comes from Databri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Unified Runti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reate clusters in seconds, dynamically scale them up and down.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hey’ve made enhancements to Spark engine to make it 10x faster than open source Spark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Serverless</a:t>
            </a:r>
            <a:r>
              <a:rPr lang="en-US" dirty="0"/>
              <a:t>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uto-configured multi-user cluster,  Reliable sharing with fault isol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Unified Collabor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Overall – a simple &amp; collaborative environment that enables your entire team to use Spark &amp; interact with your data simultaneousl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E – Improve ETL performance, zero management clusters. Execute production code from within notebook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S - For data scientists, easy data exploration in notebook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Business SME – interactive dashboards empower teams to create dynamic report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Enterprise Secur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Encryp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Fine grained  Role-based access control (files, clusters, code, application, dashboard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Complia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Rest API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E </a:t>
            </a:r>
            <a:r>
              <a:rPr lang="mr-IN" dirty="0"/>
              <a:t>–</a:t>
            </a:r>
            <a:r>
              <a:rPr lang="en-US" dirty="0"/>
              <a:t> DBIO, SPARK,</a:t>
            </a:r>
            <a:r>
              <a:rPr lang="en-US" baseline="0" dirty="0"/>
              <a:t> API’s , JOBS</a:t>
            </a:r>
          </a:p>
          <a:p>
            <a:r>
              <a:rPr lang="en-US" baseline="0" dirty="0"/>
              <a:t>DS </a:t>
            </a:r>
            <a:r>
              <a:rPr lang="mr-IN" baseline="0" dirty="0"/>
              <a:t>–</a:t>
            </a:r>
            <a:r>
              <a:rPr lang="en-US" baseline="0" dirty="0"/>
              <a:t> Spark and </a:t>
            </a:r>
            <a:r>
              <a:rPr lang="en-US" baseline="0" dirty="0" err="1"/>
              <a:t>Serverless</a:t>
            </a:r>
            <a:r>
              <a:rPr lang="en-US" baseline="0" dirty="0"/>
              <a:t>, Interactive Data Science</a:t>
            </a:r>
          </a:p>
          <a:p>
            <a:r>
              <a:rPr lang="en-US" baseline="0" dirty="0"/>
              <a:t>Data Products - Everything</a:t>
            </a:r>
            <a:endParaRPr lang="en-US" dirty="0"/>
          </a:p>
          <a:p>
            <a:endParaRPr lang="en-US" dirty="0"/>
          </a:p>
          <a:p>
            <a:r>
              <a:rPr lang="en-US" dirty="0"/>
              <a:t>Creators of</a:t>
            </a:r>
            <a:r>
              <a:rPr lang="en-US" baseline="0" dirty="0"/>
              <a:t> Spark</a:t>
            </a:r>
          </a:p>
          <a:p>
            <a:r>
              <a:rPr lang="en-US" baseline="0" dirty="0"/>
              <a:t>Training People</a:t>
            </a:r>
          </a:p>
          <a:p>
            <a:r>
              <a:rPr lang="en-US" baseline="0" dirty="0"/>
              <a:t>Number of Customers</a:t>
            </a:r>
          </a:p>
          <a:p>
            <a:endParaRPr lang="en-US" dirty="0"/>
          </a:p>
          <a:p>
            <a:r>
              <a:rPr lang="en-US" dirty="0"/>
              <a:t>Ingest</a:t>
            </a:r>
          </a:p>
          <a:p>
            <a:endParaRPr lang="en-US" dirty="0"/>
          </a:p>
          <a:p>
            <a:r>
              <a:rPr lang="en-US" dirty="0"/>
              <a:t>Workflow</a:t>
            </a:r>
          </a:p>
          <a:p>
            <a:endParaRPr lang="en-US" dirty="0"/>
          </a:p>
          <a:p>
            <a:r>
              <a:rPr lang="en-US" dirty="0"/>
              <a:t>Schedule / Run / Monitor</a:t>
            </a:r>
          </a:p>
          <a:p>
            <a:endParaRPr lang="en-US" dirty="0"/>
          </a:p>
          <a:p>
            <a:r>
              <a:rPr lang="en-US" dirty="0"/>
              <a:t>Execute</a:t>
            </a:r>
          </a:p>
          <a:p>
            <a:endParaRPr lang="en-US" dirty="0"/>
          </a:p>
          <a:p>
            <a:r>
              <a:rPr lang="en-US" dirty="0"/>
              <a:t>Troubleshoot</a:t>
            </a:r>
          </a:p>
          <a:p>
            <a:endParaRPr lang="en-US" dirty="0"/>
          </a:p>
          <a:p>
            <a:r>
              <a:rPr lang="en-US" dirty="0"/>
              <a:t>Debug</a:t>
            </a:r>
          </a:p>
          <a:p>
            <a:endParaRPr lang="en-US" dirty="0"/>
          </a:p>
          <a:p>
            <a:r>
              <a:rPr lang="en-US" dirty="0"/>
              <a:t>Production</a:t>
            </a:r>
            <a:r>
              <a:rPr lang="en-US" baseline="0" dirty="0"/>
              <a:t> Jobs</a:t>
            </a:r>
          </a:p>
          <a:p>
            <a:r>
              <a:rPr lang="en-US" baseline="0" dirty="0"/>
              <a:t>---------</a:t>
            </a:r>
          </a:p>
          <a:p>
            <a:endParaRPr lang="en-US" baseline="0" dirty="0"/>
          </a:p>
          <a:p>
            <a:r>
              <a:rPr lang="en-US" baseline="0" dirty="0"/>
              <a:t>Ingest, ETL, Scheduling, Monitor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864E82-B42A-F64E-B04D-3584A85182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1186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82055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06435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8004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672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79693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ustom Layout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 txBox="1">
            <a:spLocks noGrp="1"/>
          </p:cNvSpPr>
          <p:nvPr>
            <p:ph type="title"/>
          </p:nvPr>
        </p:nvSpPr>
        <p:spPr>
          <a:xfrm>
            <a:off x="361536" y="367689"/>
            <a:ext cx="11487562" cy="549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rgbClr val="3F3F3F"/>
              </a:buClr>
              <a:buFont typeface="Arial"/>
              <a:buNone/>
              <a:defRPr sz="3600" b="1" i="0" u="none" strike="noStrike" cap="none">
                <a:solidFill>
                  <a:srgbClr val="3F3F3F"/>
                </a:solidFill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35" name="Shape 135"/>
          <p:cNvSpPr txBox="1">
            <a:spLocks noGrp="1"/>
          </p:cNvSpPr>
          <p:nvPr>
            <p:ph type="body" idx="1"/>
          </p:nvPr>
        </p:nvSpPr>
        <p:spPr>
          <a:xfrm>
            <a:off x="365694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body" idx="2"/>
          </p:nvPr>
        </p:nvSpPr>
        <p:spPr>
          <a:xfrm>
            <a:off x="4248085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7" name="Shape 137"/>
          <p:cNvSpPr txBox="1">
            <a:spLocks noGrp="1"/>
          </p:cNvSpPr>
          <p:nvPr>
            <p:ph type="body" idx="3"/>
          </p:nvPr>
        </p:nvSpPr>
        <p:spPr>
          <a:xfrm>
            <a:off x="8130475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Shape 138"/>
          <p:cNvSpPr txBox="1">
            <a:spLocks noGrp="1"/>
          </p:cNvSpPr>
          <p:nvPr>
            <p:ph type="sldNum" idx="12"/>
          </p:nvPr>
        </p:nvSpPr>
        <p:spPr>
          <a:xfrm>
            <a:off x="11581968" y="6446442"/>
            <a:ext cx="342899" cy="2972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US" sz="1000" smtClean="0">
                <a:solidFill>
                  <a:srgbClr val="262626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pPr algn="r">
                <a:buSzPct val="25000"/>
              </a:pPr>
              <a:t>‹#›</a:t>
            </a:fld>
            <a:endParaRPr lang="en-US" sz="1000">
              <a:solidFill>
                <a:srgbClr val="262626"/>
              </a:solidFill>
              <a:latin typeface="Source Sans Pro Light"/>
              <a:ea typeface="Source Sans Pro Light"/>
              <a:cs typeface="Source Sans Pro Light"/>
              <a:sym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149542709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73871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2"/>
            <a:ext cx="11662784" cy="899665"/>
          </a:xfrm>
        </p:spPr>
        <p:txBody>
          <a:bodyPr/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E376AC-ED51-4E76-B89C-5B54E5AAF0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97017" y="3443777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93871F8-E8F5-4A32-8A74-A377B142F6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2431" y="3443777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F2C3E02-CE73-4ECA-93F4-9A28E31660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87845" y="3443777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2FE9B4C-BAB8-461F-8CD4-A8085629BC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53210" y="5030770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6A4949D-3000-4DB6-98C9-B01E29B48D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2400" y="5030770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059661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450745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67347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Shape 22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7" name="Shape 227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4323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1867"/>
            </a:lvl1pPr>
            <a:lvl2pPr lvl="1" rtl="0">
              <a:spcBef>
                <a:spcPts val="0"/>
              </a:spcBef>
              <a:buSzPct val="100000"/>
              <a:defRPr sz="1600"/>
            </a:lvl2pPr>
            <a:lvl3pPr lvl="2" rtl="0">
              <a:spcBef>
                <a:spcPts val="0"/>
              </a:spcBef>
              <a:buSzPct val="100000"/>
              <a:defRPr sz="1600"/>
            </a:lvl3pPr>
            <a:lvl4pPr lvl="3" rtl="0">
              <a:spcBef>
                <a:spcPts val="0"/>
              </a:spcBef>
              <a:buSzPct val="100000"/>
              <a:defRPr sz="1600"/>
            </a:lvl4pPr>
            <a:lvl5pPr lvl="4" rtl="0">
              <a:spcBef>
                <a:spcPts val="0"/>
              </a:spcBef>
              <a:buSzPct val="100000"/>
              <a:defRPr sz="1600"/>
            </a:lvl5pPr>
            <a:lvl6pPr lvl="5" rtl="0">
              <a:spcBef>
                <a:spcPts val="0"/>
              </a:spcBef>
              <a:buSzPct val="100000"/>
              <a:defRPr sz="1600"/>
            </a:lvl6pPr>
            <a:lvl7pPr lvl="6" rtl="0">
              <a:spcBef>
                <a:spcPts val="0"/>
              </a:spcBef>
              <a:buSzPct val="100000"/>
              <a:defRPr sz="1600"/>
            </a:lvl7pPr>
            <a:lvl8pPr lvl="7" rtl="0">
              <a:spcBef>
                <a:spcPts val="0"/>
              </a:spcBef>
              <a:buSzPct val="100000"/>
              <a:defRPr sz="1600"/>
            </a:lvl8pPr>
            <a:lvl9pPr lvl="8" rtl="0">
              <a:spcBef>
                <a:spcPts val="0"/>
              </a:spcBef>
              <a:buSzPct val="100000"/>
              <a:defRPr sz="1600"/>
            </a:lvl9pPr>
          </a:lstStyle>
          <a:p>
            <a:endParaRPr/>
          </a:p>
        </p:txBody>
      </p:sp>
      <p:sp>
        <p:nvSpPr>
          <p:cNvPr id="228" name="Shape 228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4323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1867"/>
            </a:lvl1pPr>
            <a:lvl2pPr lvl="1" rtl="0">
              <a:spcBef>
                <a:spcPts val="0"/>
              </a:spcBef>
              <a:buSzPct val="100000"/>
              <a:defRPr sz="1600"/>
            </a:lvl2pPr>
            <a:lvl3pPr lvl="2" rtl="0">
              <a:spcBef>
                <a:spcPts val="0"/>
              </a:spcBef>
              <a:buSzPct val="100000"/>
              <a:defRPr sz="1600"/>
            </a:lvl3pPr>
            <a:lvl4pPr lvl="3" rtl="0">
              <a:spcBef>
                <a:spcPts val="0"/>
              </a:spcBef>
              <a:buSzPct val="100000"/>
              <a:defRPr sz="1600"/>
            </a:lvl4pPr>
            <a:lvl5pPr lvl="4" rtl="0">
              <a:spcBef>
                <a:spcPts val="0"/>
              </a:spcBef>
              <a:buSzPct val="100000"/>
              <a:defRPr sz="1600"/>
            </a:lvl5pPr>
            <a:lvl6pPr lvl="5" rtl="0">
              <a:spcBef>
                <a:spcPts val="0"/>
              </a:spcBef>
              <a:buSzPct val="100000"/>
              <a:defRPr sz="1600"/>
            </a:lvl6pPr>
            <a:lvl7pPr lvl="6" rtl="0">
              <a:spcBef>
                <a:spcPts val="0"/>
              </a:spcBef>
              <a:buSzPct val="100000"/>
              <a:defRPr sz="1600"/>
            </a:lvl7pPr>
            <a:lvl8pPr lvl="7" rtl="0">
              <a:spcBef>
                <a:spcPts val="0"/>
              </a:spcBef>
              <a:buSzPct val="100000"/>
              <a:defRPr sz="1600"/>
            </a:lvl8pPr>
            <a:lvl9pPr lvl="8" rtl="0">
              <a:spcBef>
                <a:spcPts val="0"/>
              </a:spcBef>
              <a:buSzPct val="100000"/>
              <a:defRPr sz="1600"/>
            </a:lvl9pPr>
          </a:lstStyle>
          <a:p>
            <a:endParaRPr/>
          </a:p>
        </p:txBody>
      </p:sp>
      <p:sp>
        <p:nvSpPr>
          <p:cNvPr id="229" name="Shape 229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193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0433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2356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925433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963612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855728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22313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1">
    <p:bg>
      <p:bgPr>
        <a:solidFill>
          <a:srgbClr val="0018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218946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26754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7088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50517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391189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043039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4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071821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671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879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3417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8195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178566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9463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546923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ub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5E480-06E3-466E-AB06-00AD3BF92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-541796"/>
            <a:ext cx="11656060" cy="350865"/>
          </a:xfrm>
        </p:spPr>
        <p:txBody>
          <a:bodyPr/>
          <a:lstStyle>
            <a:lvl1pPr>
              <a:defRPr sz="1200" b="0" spc="300">
                <a:latin typeface="+mn-lt"/>
              </a:defRPr>
            </a:lvl1pPr>
          </a:lstStyle>
          <a:p>
            <a:pPr lvl="0"/>
            <a:r>
              <a:rPr lang="en-US" dirty="0"/>
              <a:t>SUBHEAD 16 PT</a:t>
            </a:r>
          </a:p>
        </p:txBody>
      </p:sp>
    </p:spTree>
    <p:extLst>
      <p:ext uri="{BB962C8B-B14F-4D97-AF65-F5344CB8AC3E}">
        <p14:creationId xmlns:p14="http://schemas.microsoft.com/office/powerpoint/2010/main" val="16709190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72">
            <a:extLst>
              <a:ext uri="{FF2B5EF4-FFF2-40B4-BE49-F238E27FC236}">
                <a16:creationId xmlns:a16="http://schemas.microsoft.com/office/drawing/2014/main" id="{1206FFEE-68CD-4E99-8B90-CDA7AB898338}"/>
              </a:ext>
            </a:extLst>
          </p:cNvPr>
          <p:cNvSpPr/>
          <p:nvPr userDrawn="1"/>
        </p:nvSpPr>
        <p:spPr>
          <a:xfrm>
            <a:off x="5148303" y="0"/>
            <a:ext cx="7043697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273">
            <a:extLst>
              <a:ext uri="{FF2B5EF4-FFF2-40B4-BE49-F238E27FC236}">
                <a16:creationId xmlns:a16="http://schemas.microsoft.com/office/drawing/2014/main" id="{2E635E12-4C1D-4578-B737-A37E959ED30F}"/>
              </a:ext>
            </a:extLst>
          </p:cNvPr>
          <p:cNvSpPr txBox="1"/>
          <p:nvPr userDrawn="1"/>
        </p:nvSpPr>
        <p:spPr>
          <a:xfrm>
            <a:off x="303111" y="2687451"/>
            <a:ext cx="6569030" cy="1483098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0"/>
              </a:spcBef>
            </a:pPr>
            <a:r>
              <a:rPr sz="4000" b="0" spc="30" dirty="0">
                <a:solidFill>
                  <a:srgbClr val="FFFFFF"/>
                </a:solidFill>
                <a:latin typeface="Segoe UI Light"/>
                <a:cs typeface="Segoe UI Light"/>
              </a:rPr>
              <a:t>Better</a:t>
            </a:r>
            <a:r>
              <a:rPr sz="4000" b="0" dirty="0">
                <a:solidFill>
                  <a:srgbClr val="FFFFFF"/>
                </a:solidFill>
                <a:latin typeface="Segoe UI Light"/>
                <a:cs typeface="Segoe UI Light"/>
              </a:rPr>
              <a:t> </a:t>
            </a:r>
            <a:r>
              <a:rPr sz="4000" b="0" spc="30" dirty="0">
                <a:solidFill>
                  <a:srgbClr val="FFFFFF"/>
                </a:solidFill>
                <a:latin typeface="Segoe UI Light"/>
                <a:cs typeface="Segoe UI Light"/>
              </a:rPr>
              <a:t>insights.</a:t>
            </a:r>
            <a:endParaRPr sz="4000" dirty="0">
              <a:latin typeface="Segoe UI Light"/>
              <a:cs typeface="Segoe UI Light"/>
            </a:endParaRPr>
          </a:p>
          <a:p>
            <a:pPr marL="12700">
              <a:lnSpc>
                <a:spcPct val="100000"/>
              </a:lnSpc>
              <a:spcBef>
                <a:spcPts val="0"/>
              </a:spcBef>
            </a:pPr>
            <a:r>
              <a:rPr sz="4000" b="0" spc="30" dirty="0">
                <a:solidFill>
                  <a:srgbClr val="FFFFFF"/>
                </a:solidFill>
                <a:latin typeface="Segoe UI Light"/>
                <a:cs typeface="Segoe UI Light"/>
              </a:rPr>
              <a:t>Faster</a:t>
            </a:r>
            <a:r>
              <a:rPr sz="4000" b="0" spc="-5" dirty="0">
                <a:solidFill>
                  <a:srgbClr val="FFFFFF"/>
                </a:solidFill>
                <a:latin typeface="Segoe UI Light"/>
                <a:cs typeface="Segoe UI Light"/>
              </a:rPr>
              <a:t> </a:t>
            </a:r>
            <a:r>
              <a:rPr sz="4000" b="0" spc="35" dirty="0">
                <a:solidFill>
                  <a:srgbClr val="FFFFFF"/>
                </a:solidFill>
                <a:latin typeface="Segoe UI Light"/>
                <a:cs typeface="Segoe UI Light"/>
              </a:rPr>
              <a:t>innovation.</a:t>
            </a:r>
            <a:endParaRPr sz="4000" dirty="0">
              <a:latin typeface="Segoe UI Light"/>
              <a:cs typeface="Segoe UI Light"/>
            </a:endParaRPr>
          </a:p>
          <a:p>
            <a:pPr marL="29209">
              <a:lnSpc>
                <a:spcPct val="100000"/>
              </a:lnSpc>
              <a:spcBef>
                <a:spcPts val="350"/>
              </a:spcBef>
            </a:pPr>
            <a:r>
              <a:rPr sz="1200" b="1" spc="-95" dirty="0">
                <a:solidFill>
                  <a:srgbClr val="FFFFFF"/>
                </a:solidFill>
                <a:latin typeface="Arial Black"/>
                <a:cs typeface="Arial Black"/>
              </a:rPr>
              <a:t>Apache</a:t>
            </a:r>
            <a:r>
              <a:rPr sz="1100" b="1" spc="44" baseline="34722" dirty="0">
                <a:solidFill>
                  <a:srgbClr val="FFFFFF"/>
                </a:solidFill>
                <a:latin typeface="Arial Black"/>
                <a:cs typeface="Arial Black"/>
              </a:rPr>
              <a:t>®</a:t>
            </a:r>
            <a:r>
              <a:rPr sz="1100" b="1" spc="-60" baseline="34722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200" b="1" spc="-95" dirty="0">
                <a:solidFill>
                  <a:srgbClr val="FFFFFF"/>
                </a:solidFill>
                <a:latin typeface="Arial Black"/>
                <a:cs typeface="Arial Black"/>
              </a:rPr>
              <a:t>Spar</a:t>
            </a:r>
            <a:r>
              <a:rPr sz="1200" b="1" spc="-105" dirty="0">
                <a:solidFill>
                  <a:srgbClr val="FFFFFF"/>
                </a:solidFill>
                <a:latin typeface="Arial Black"/>
                <a:cs typeface="Arial Black"/>
              </a:rPr>
              <a:t>k</a:t>
            </a:r>
            <a:r>
              <a:rPr sz="800" b="1" spc="-15" baseline="148148" dirty="0">
                <a:solidFill>
                  <a:srgbClr val="FFFFFF"/>
                </a:solidFill>
                <a:latin typeface="Arial Black"/>
                <a:cs typeface="Arial Black"/>
              </a:rPr>
              <a:t>TM</a:t>
            </a:r>
            <a:r>
              <a:rPr sz="800" b="1" spc="-22" baseline="148148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200" b="1" spc="-90" dirty="0">
                <a:solidFill>
                  <a:srgbClr val="FFFFFF"/>
                </a:solidFill>
                <a:latin typeface="Arial Black"/>
                <a:cs typeface="Arial Black"/>
              </a:rPr>
              <a:t>Survey</a:t>
            </a:r>
            <a:r>
              <a:rPr sz="1200" b="1" spc="-75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200" b="1" spc="-65" dirty="0">
                <a:solidFill>
                  <a:srgbClr val="FFFFFF"/>
                </a:solidFill>
                <a:latin typeface="Arial Black"/>
                <a:cs typeface="Arial Black"/>
              </a:rPr>
              <a:t>highlights</a:t>
            </a:r>
            <a:endParaRPr sz="1200" dirty="0">
              <a:latin typeface="Arial Black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875875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No ti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3"/>
            <a:ext cx="3662999" cy="875413"/>
          </a:xfrm>
          <a:noFill/>
        </p:spPr>
        <p:txBody>
          <a:bodyPr lIns="146304" tIns="91440" rIns="146304" bIns="91440" anchor="t" anchorCtr="0"/>
          <a:lstStyle>
            <a:lvl1pPr>
              <a:defRPr sz="3200" spc="-98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7"/>
            <a:ext cx="3662999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180" y="5967074"/>
            <a:ext cx="1568742" cy="577134"/>
          </a:xfrm>
          <a:prstGeom prst="rect">
            <a:avLst/>
          </a:prstGeom>
        </p:spPr>
      </p:pic>
      <p:sp>
        <p:nvSpPr>
          <p:cNvPr id="8" name="object 272">
            <a:extLst>
              <a:ext uri="{FF2B5EF4-FFF2-40B4-BE49-F238E27FC236}">
                <a16:creationId xmlns:a16="http://schemas.microsoft.com/office/drawing/2014/main" id="{3BB2C92E-6C3F-41AB-949C-F9C506014D7D}"/>
              </a:ext>
            </a:extLst>
          </p:cNvPr>
          <p:cNvSpPr/>
          <p:nvPr userDrawn="1"/>
        </p:nvSpPr>
        <p:spPr>
          <a:xfrm>
            <a:off x="5148303" y="0"/>
            <a:ext cx="7043697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1059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72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4417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69241" y="2125663"/>
            <a:ext cx="2748597" cy="899665"/>
          </a:xfrm>
        </p:spPr>
        <p:txBody>
          <a:bodyPr anchor="b"/>
          <a:lstStyle>
            <a:lvl1pPr>
              <a:defRPr sz="2000" b="1">
                <a:latin typeface="+mn-lt"/>
              </a:defRPr>
            </a:lvl1pPr>
          </a:lstStyle>
          <a:p>
            <a:r>
              <a:rPr lang="en-US" dirty="0"/>
              <a:t>Click to edit Master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476770-F039-4F89-BB96-5D357CEB40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2955985"/>
            <a:ext cx="2748597" cy="129266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50976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69241" y="2125663"/>
            <a:ext cx="2748597" cy="899665"/>
          </a:xfrm>
        </p:spPr>
        <p:txBody>
          <a:bodyPr anchor="b"/>
          <a:lstStyle>
            <a:lvl1pPr>
              <a:defRPr lang="en-US" sz="2000" b="1" kern="1200" cap="none" spc="-100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n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style</a:t>
            </a:r>
          </a:p>
        </p:txBody>
      </p:sp>
    </p:spTree>
    <p:extLst>
      <p:ext uri="{BB962C8B-B14F-4D97-AF65-F5344CB8AC3E}">
        <p14:creationId xmlns:p14="http://schemas.microsoft.com/office/powerpoint/2010/main" val="427228440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525578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758672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037532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101037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516471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881664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162852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141015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1563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-1" y="-26950"/>
            <a:ext cx="12192000" cy="6911901"/>
          </a:xfrm>
          <a:prstGeom prst="rect">
            <a:avLst/>
          </a:prstGeom>
          <a:gradFill flip="none" rotWithShape="1">
            <a:gsLst>
              <a:gs pos="56000">
                <a:srgbClr val="FFFFFF">
                  <a:alpha val="91000"/>
                </a:srgb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2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6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180" y="5967074"/>
            <a:ext cx="1568742" cy="57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2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-905" t="13409" r="17494" b="16223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0" y="0"/>
            <a:ext cx="12192000" cy="6911901"/>
          </a:xfrm>
          <a:prstGeom prst="rect">
            <a:avLst/>
          </a:prstGeom>
          <a:gradFill flip="none" rotWithShape="1">
            <a:gsLst>
              <a:gs pos="56000">
                <a:srgbClr val="FFFFFF">
                  <a:alpha val="91000"/>
                </a:srgb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2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6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180" y="5967074"/>
            <a:ext cx="1568742" cy="57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920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74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269239" y="2077800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93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94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3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75119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919196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073157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3572562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691127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293015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38973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136672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116314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700418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018285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8794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27184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4771257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941203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40416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012070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50352378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99812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4195996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5584527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5324833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01893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43528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83894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6726055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976884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0535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5635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97411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34752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8687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5587684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6591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6881774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9200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5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949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741002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5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723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1356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9C719-4052-4C2B-B081-33B69B3668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962F7D-CD68-4C92-B4D4-A62EC2A992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D534A-B820-4D5B-B6DD-C8FEC0BBB3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FBDCA-AAD6-4D12-957D-3D943D66043B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AD4811-23D1-4D94-8D48-53EE7F9C45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EAAC43-F328-452C-8836-2B27832DD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F3F9C4-2E42-44A3-A6B0-379670237D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964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8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9656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cap="none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802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ub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5E480-06E3-466E-AB06-00AD3BF92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-541796"/>
            <a:ext cx="11656060" cy="350865"/>
          </a:xfrm>
        </p:spPr>
        <p:txBody>
          <a:bodyPr/>
          <a:lstStyle>
            <a:lvl1pPr>
              <a:defRPr sz="1200" b="0" spc="300">
                <a:latin typeface="+mn-lt"/>
              </a:defRPr>
            </a:lvl1pPr>
          </a:lstStyle>
          <a:p>
            <a:pPr lvl="0"/>
            <a:r>
              <a:rPr lang="en-US" dirty="0"/>
              <a:t>SUBHEAD 16 PT</a:t>
            </a:r>
          </a:p>
        </p:txBody>
      </p:sp>
    </p:spTree>
    <p:extLst>
      <p:ext uri="{BB962C8B-B14F-4D97-AF65-F5344CB8AC3E}">
        <p14:creationId xmlns:p14="http://schemas.microsoft.com/office/powerpoint/2010/main" val="387358724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>
            <a:lvl1pPr algn="ctr">
              <a:defRPr lang="en-US" sz="28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6993410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3969169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516166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1887516-5404-4D65-815F-4D6F8F24CA8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>
              <a:alpha val="7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EAA577C-AA69-440E-93ED-785F0922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5241" y="289513"/>
            <a:ext cx="5294286" cy="899665"/>
          </a:xfrm>
        </p:spPr>
        <p:txBody>
          <a:bodyPr/>
          <a:lstStyle>
            <a:lvl1pPr>
              <a:defRPr sz="392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80E1E1A-D76F-4736-84AB-EA6B847436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5241" y="1747838"/>
            <a:ext cx="5294285" cy="395814"/>
          </a:xfrm>
        </p:spPr>
        <p:txBody>
          <a:bodyPr/>
          <a:lstStyle>
            <a:lvl1pPr marL="0" marR="0" indent="0" algn="l" defTabSz="914225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2400"/>
              </a:spcAft>
              <a:buClrTx/>
              <a:buSzPct val="90000"/>
              <a:buFont typeface="Arial" pitchFamily="34" charset="0"/>
              <a:buNone/>
              <a:tabLst/>
              <a:defRPr lang="en-US" sz="1372" kern="1200" spc="9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5276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E3F1-5A51-4B35-B9B4-F38309368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3216" y="289513"/>
            <a:ext cx="6421864" cy="899665"/>
          </a:xfrm>
        </p:spPr>
        <p:txBody>
          <a:bodyPr/>
          <a:lstStyle>
            <a:lvl1pPr>
              <a:defRPr lang="en-US" sz="3529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02D8466-407C-4220-B6A8-8C189F42E0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530244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2284D3-DBDC-495E-984E-DA902FB7B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3217" y="1661166"/>
            <a:ext cx="6421863" cy="817794"/>
          </a:xfrm>
        </p:spPr>
        <p:txBody>
          <a:bodyPr/>
          <a:lstStyle>
            <a:lvl1pPr marL="0" indent="0">
              <a:spcBef>
                <a:spcPts val="1765"/>
              </a:spcBef>
              <a:spcAft>
                <a:spcPts val="588"/>
              </a:spcAft>
              <a:buNone/>
              <a:defRPr sz="196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588"/>
              </a:spcAft>
              <a:buNone/>
              <a:defRPr lang="en-US" sz="1568" kern="1200" spc="8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>
              <a:defRPr sz="1176"/>
            </a:lvl3pPr>
            <a:lvl4pPr>
              <a:defRPr sz="1078"/>
            </a:lvl4pPr>
            <a:lvl5pPr>
              <a:defRPr sz="1078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58407302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-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7401560" cy="619444"/>
          </a:xfrm>
        </p:spPr>
        <p:txBody>
          <a:bodyPr/>
          <a:lstStyle>
            <a:lvl1pPr algn="l">
              <a:defRPr lang="en-US" sz="28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18BBAFC-E834-49F6-81F9-7D61A73D7100}"/>
              </a:ext>
            </a:extLst>
          </p:cNvPr>
          <p:cNvSpPr/>
          <p:nvPr/>
        </p:nvSpPr>
        <p:spPr bwMode="auto">
          <a:xfrm>
            <a:off x="8152527" y="0"/>
            <a:ext cx="4039474" cy="6868572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0" tIns="2103120" rIns="27432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 dirty="0">
              <a:solidFill>
                <a:schemeClr val="bg1"/>
              </a:solidFill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F6A325-ED81-4943-98B9-9DD29A58E1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70900" y="2044700"/>
            <a:ext cx="3263900" cy="250190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D626E0-2FF7-4549-A576-D97D8DBA12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9240" y="1499391"/>
            <a:ext cx="7401560" cy="2050882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lang="en-US" sz="200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mtClean="0">
                <a:cs typeface="+mn-cs"/>
              </a:defRPr>
            </a:lvl4pPr>
            <a:lvl5pPr>
              <a:defRPr lang="en-US">
                <a:cs typeface="+mn-cs"/>
              </a:defRPr>
            </a:lvl5pPr>
          </a:lstStyle>
          <a:p>
            <a:pPr marL="0" lvl="0" indent="0" defTabSz="914367">
              <a:lnSpc>
                <a:spcPct val="100000"/>
              </a:lnSpc>
              <a:spcBef>
                <a:spcPts val="1800"/>
              </a:spcBef>
              <a:buNone/>
            </a:pPr>
            <a:r>
              <a:rPr lang="en-US" dirty="0"/>
              <a:t>Edit Master text styles</a:t>
            </a:r>
          </a:p>
          <a:p>
            <a:pPr marL="572691" lvl="1" indent="-236546" defTabSz="914367"/>
            <a:r>
              <a:rPr lang="en-US" dirty="0"/>
              <a:t>Second level</a:t>
            </a:r>
          </a:p>
          <a:p>
            <a:pPr marL="784338" lvl="2" indent="-224097" defTabSz="914367"/>
            <a:r>
              <a:rPr lang="en-US" dirty="0"/>
              <a:t>Third level</a:t>
            </a:r>
          </a:p>
          <a:p>
            <a:pPr marL="1008435" lvl="3" indent="-224097" defTabSz="914367"/>
            <a:r>
              <a:rPr lang="en-US" dirty="0"/>
              <a:t>Fourth level</a:t>
            </a:r>
          </a:p>
          <a:p>
            <a:pPr marL="1232531" lvl="4" indent="-224097" defTabSz="914367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026583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ACD934D-D19B-459D-8517-C593E83402E3}"/>
              </a:ext>
            </a:extLst>
          </p:cNvPr>
          <p:cNvSpPr/>
          <p:nvPr/>
        </p:nvSpPr>
        <p:spPr bwMode="auto">
          <a:xfrm>
            <a:off x="-1" y="0"/>
            <a:ext cx="4944533" cy="685800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ABFFFD4-D3B4-4252-95D9-B98FB4384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764" y="156952"/>
            <a:ext cx="4648722" cy="1592480"/>
          </a:xfrm>
          <a:noFill/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kumimoji="0" lang="en-US" sz="2200" i="0" u="none" strike="noStrike" cap="all" spc="300" normalizeH="0">
                <a:solidFill>
                  <a:srgbClr val="FFFFFF"/>
                </a:solidFill>
                <a:uLnTx/>
                <a:uFillTx/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pPr marL="0" marR="0" lvl="0" indent="0" defTabSz="914367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62C0FC-9202-4B12-A4AE-85A64FB924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764" y="2060310"/>
            <a:ext cx="4648722" cy="4268132"/>
          </a:xfrm>
        </p:spPr>
        <p:txBody>
          <a:bodyPr lIns="91440" tIns="45720" rIns="91440" bIns="45720"/>
          <a:lstStyle>
            <a:lvl1pPr marL="0" indent="0">
              <a:spcBef>
                <a:spcPts val="1200"/>
              </a:spcBef>
              <a:buNone/>
              <a:defRPr sz="12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173038" indent="-115888">
              <a:defRPr sz="1200">
                <a:solidFill>
                  <a:schemeClr val="bg1"/>
                </a:solidFill>
              </a:defRPr>
            </a:lvl2pPr>
            <a:lvl3pPr marL="400050" indent="-115888">
              <a:defRPr sz="1100">
                <a:solidFill>
                  <a:schemeClr val="bg1"/>
                </a:solidFill>
              </a:defRPr>
            </a:lvl3pPr>
            <a:lvl4pPr marL="800100" indent="-223838">
              <a:defRPr sz="1050">
                <a:solidFill>
                  <a:schemeClr val="bg1"/>
                </a:solidFill>
              </a:defRPr>
            </a:lvl4pPr>
            <a:lvl5pPr marL="1028700" indent="-223838"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200690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/50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ACD934D-D19B-459D-8517-C593E83402E3}"/>
              </a:ext>
            </a:extLst>
          </p:cNvPr>
          <p:cNvSpPr/>
          <p:nvPr/>
        </p:nvSpPr>
        <p:spPr bwMode="auto">
          <a:xfrm>
            <a:off x="-2" y="0"/>
            <a:ext cx="6096001" cy="685800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0AE9F0-FECE-4AFD-A61E-780A2C6CC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286" y="2778035"/>
            <a:ext cx="5256348" cy="1301932"/>
          </a:xfrm>
        </p:spPr>
        <p:txBody>
          <a:bodyPr anchor="ctr"/>
          <a:lstStyle>
            <a:lvl1pPr>
              <a:defRPr sz="440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4211661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1424681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AEF9AA7-BD29-4A18-82C0-68A9D38AF5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1CA6D4-62F0-4F7D-B7B0-B0EDEA6108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127" y="5819469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34" tIns="143389" rIns="179234" bIns="14338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© 2018 Microsoft Corporation. All rights reserved. Microsoft, Windows, and other product names are or may be registered trademarks and/or trademarks in the U.S. and/or other countries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641583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9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66.xml"/><Relationship Id="rId42" Type="http://schemas.openxmlformats.org/officeDocument/2006/relationships/slideLayout" Target="../slideLayouts/slideLayout74.xml"/><Relationship Id="rId47" Type="http://schemas.openxmlformats.org/officeDocument/2006/relationships/slideLayout" Target="../slideLayouts/slideLayout79.xml"/><Relationship Id="rId50" Type="http://schemas.openxmlformats.org/officeDocument/2006/relationships/slideLayout" Target="../slideLayouts/slideLayout82.xml"/><Relationship Id="rId55" Type="http://schemas.openxmlformats.org/officeDocument/2006/relationships/slideLayout" Target="../slideLayouts/slideLayout87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slideLayout" Target="../slideLayouts/slideLayout70.xml"/><Relationship Id="rId46" Type="http://schemas.openxmlformats.org/officeDocument/2006/relationships/slideLayout" Target="../slideLayouts/slideLayout78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73.xml"/><Relationship Id="rId54" Type="http://schemas.openxmlformats.org/officeDocument/2006/relationships/slideLayout" Target="../slideLayouts/slideLayout86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slideLayout" Target="../slideLayouts/slideLayout69.xml"/><Relationship Id="rId40" Type="http://schemas.openxmlformats.org/officeDocument/2006/relationships/slideLayout" Target="../slideLayouts/slideLayout72.xml"/><Relationship Id="rId45" Type="http://schemas.openxmlformats.org/officeDocument/2006/relationships/slideLayout" Target="../slideLayouts/slideLayout77.xml"/><Relationship Id="rId53" Type="http://schemas.openxmlformats.org/officeDocument/2006/relationships/slideLayout" Target="../slideLayouts/slideLayout85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slideLayout" Target="../slideLayouts/slideLayout68.xml"/><Relationship Id="rId49" Type="http://schemas.openxmlformats.org/officeDocument/2006/relationships/slideLayout" Target="../slideLayouts/slideLayout81.xml"/><Relationship Id="rId57" Type="http://schemas.openxmlformats.org/officeDocument/2006/relationships/image" Target="../media/image6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4" Type="http://schemas.openxmlformats.org/officeDocument/2006/relationships/slideLayout" Target="../slideLayouts/slideLayout76.xml"/><Relationship Id="rId52" Type="http://schemas.openxmlformats.org/officeDocument/2006/relationships/slideLayout" Target="../slideLayouts/slideLayout84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slideLayout" Target="../slideLayouts/slideLayout67.xml"/><Relationship Id="rId43" Type="http://schemas.openxmlformats.org/officeDocument/2006/relationships/slideLayout" Target="../slideLayouts/slideLayout75.xml"/><Relationship Id="rId48" Type="http://schemas.openxmlformats.org/officeDocument/2006/relationships/slideLayout" Target="../slideLayouts/slideLayout80.xml"/><Relationship Id="rId56" Type="http://schemas.openxmlformats.org/officeDocument/2006/relationships/theme" Target="../theme/theme3.xml"/><Relationship Id="rId8" Type="http://schemas.openxmlformats.org/officeDocument/2006/relationships/slideLayout" Target="../slideLayouts/slideLayout40.xml"/><Relationship Id="rId51" Type="http://schemas.openxmlformats.org/officeDocument/2006/relationships/slideLayout" Target="../slideLayouts/slideLayout83.xml"/><Relationship Id="rId3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8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840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6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751" r:id="rId13"/>
    <p:sldLayoutId id="2147483768" r:id="rId14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6746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184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  <p:sldLayoutId id="2147483730" r:id="rId35"/>
    <p:sldLayoutId id="2147483731" r:id="rId36"/>
    <p:sldLayoutId id="2147483732" r:id="rId37"/>
    <p:sldLayoutId id="2147483733" r:id="rId38"/>
    <p:sldLayoutId id="2147483734" r:id="rId39"/>
    <p:sldLayoutId id="2147483735" r:id="rId40"/>
    <p:sldLayoutId id="2147483736" r:id="rId41"/>
    <p:sldLayoutId id="2147483737" r:id="rId42"/>
    <p:sldLayoutId id="2147483738" r:id="rId43"/>
    <p:sldLayoutId id="2147483739" r:id="rId44"/>
    <p:sldLayoutId id="2147483740" r:id="rId45"/>
    <p:sldLayoutId id="2147483741" r:id="rId46"/>
    <p:sldLayoutId id="2147483742" r:id="rId47"/>
    <p:sldLayoutId id="2147483743" r:id="rId48"/>
    <p:sldLayoutId id="2147483744" r:id="rId49"/>
    <p:sldLayoutId id="2147483745" r:id="rId50"/>
    <p:sldLayoutId id="2147483746" r:id="rId51"/>
    <p:sldLayoutId id="2147483747" r:id="rId52"/>
    <p:sldLayoutId id="2147483748" r:id="rId53"/>
    <p:sldLayoutId id="2147483749" r:id="rId54"/>
    <p:sldLayoutId id="2147483750" r:id="rId5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962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7" r:id="rId14"/>
    <p:sldLayoutId id="2147483769" r:id="rId15"/>
  </p:sldLayoutIdLst>
  <p:transition>
    <p:fade/>
  </p:transition>
  <p:hf hdr="0" ftr="0" dt="0"/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ustomXml" Target="../ink/ink9.xml"/><Relationship Id="rId13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4.png"/><Relationship Id="rId12" Type="http://schemas.openxmlformats.org/officeDocument/2006/relationships/customXml" Target="../ink/ink1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0.xml"/><Relationship Id="rId6" Type="http://schemas.openxmlformats.org/officeDocument/2006/relationships/customXml" Target="../ink/ink8.xml"/><Relationship Id="rId11" Type="http://schemas.openxmlformats.org/officeDocument/2006/relationships/image" Target="../media/image46.png"/><Relationship Id="rId5" Type="http://schemas.openxmlformats.org/officeDocument/2006/relationships/image" Target="../media/image43.png"/><Relationship Id="rId10" Type="http://schemas.openxmlformats.org/officeDocument/2006/relationships/customXml" Target="../ink/ink10.xml"/><Relationship Id="rId4" Type="http://schemas.openxmlformats.org/officeDocument/2006/relationships/customXml" Target="../ink/ink7.xml"/><Relationship Id="rId9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customXml" Target="../ink/ink2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customXml" Target="../ink/ink3.xml"/><Relationship Id="rId7" Type="http://schemas.openxmlformats.org/officeDocument/2006/relationships/customXml" Target="../ink/ink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customXml" Target="../ink/ink4.xml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269302" y="2918854"/>
            <a:ext cx="6274911" cy="1792850"/>
          </a:xfrm>
          <a:prstGeom prst="rect">
            <a:avLst/>
          </a:prstGeom>
          <a:noFill/>
        </p:spPr>
        <p:txBody>
          <a:bodyPr vert="horz" wrap="square" lIns="143428" tIns="89642" rIns="143428" bIns="89642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98" normalizeH="0" baseline="0" noProof="0" dirty="0">
                <a:ln w="3175">
                  <a:noFill/>
                </a:ln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Operationalizing ML Model with Azure Databricks</a:t>
            </a:r>
          </a:p>
        </p:txBody>
      </p:sp>
      <p:sp>
        <p:nvSpPr>
          <p:cNvPr id="4" name="Text Placeholder 3"/>
          <p:cNvSpPr txBox="1">
            <a:spLocks/>
          </p:cNvSpPr>
          <p:nvPr/>
        </p:nvSpPr>
        <p:spPr bwMode="auto">
          <a:xfrm>
            <a:off x="273050" y="4607001"/>
            <a:ext cx="6271163" cy="886397"/>
          </a:xfrm>
          <a:prstGeom prst="rect">
            <a:avLst/>
          </a:prstGeom>
        </p:spPr>
        <p:txBody>
          <a:bodyPr vert="horz" wrap="square" lIns="164592" tIns="109728" rIns="164592" bIns="109728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200" kern="1200" spc="0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anjunath Suryanarayana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olutions Architect– Big Data &amp; Advanced Analytics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sz="1600" dirty="0">
                <a:solidFill>
                  <a:srgbClr val="969696"/>
                </a:solidFill>
                <a:latin typeface="Segoe UI Semilight"/>
              </a:rPr>
              <a:t>masuryan@microsoft.co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803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Hidden Technical Debt in ML System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88733E3-E371-4218-AAFC-A1BDEAEDB0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1255181"/>
            <a:ext cx="11538857" cy="4347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59856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hallenges with Productionizing a Mode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73844" y="3487507"/>
            <a:ext cx="6614785" cy="3823625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dditional work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fferent Frameworks, code paths and tools</a:t>
            </a: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y tough to implement Agile process Methodologies (like CI and CD </a:t>
            </a:r>
            <a:r>
              <a:rPr kumimoji="0" lang="en-US" sz="1600" b="0" i="0" u="none" strike="noStrike" kern="120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tc</a:t>
            </a: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low to update Model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early impossible to maintain versioning of Data and Model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ata Science doesn’t translate to production</a:t>
            </a:r>
            <a:endParaRPr kumimoji="0" lang="en-US" sz="16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DA0D76-A6E9-489C-81C1-9618373E1920}"/>
              </a:ext>
            </a:extLst>
          </p:cNvPr>
          <p:cNvSpPr txBox="1"/>
          <p:nvPr/>
        </p:nvSpPr>
        <p:spPr>
          <a:xfrm>
            <a:off x="674914" y="1360714"/>
            <a:ext cx="3548743" cy="260686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Science Team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velop Prototype (Includes Research activities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l using Python/R (Mostly on Sample Data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AFB7C5-427D-4029-8915-429353953253}"/>
              </a:ext>
            </a:extLst>
          </p:cNvPr>
          <p:cNvSpPr txBox="1"/>
          <p:nvPr/>
        </p:nvSpPr>
        <p:spPr>
          <a:xfrm>
            <a:off x="5214257" y="1360713"/>
            <a:ext cx="3548743" cy="200978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Engineer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-implement model for Production (Java, Python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4CC8C50B-04FB-48CA-94B3-3ADD36CE4B6C}"/>
                  </a:ext>
                </a:extLst>
              </p14:cNvPr>
              <p14:cNvContentPartPr/>
              <p14:nvPr/>
            </p14:nvContentPartPr>
            <p14:xfrm>
              <a:off x="3113169" y="1343203"/>
              <a:ext cx="2743920" cy="192744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4CC8C50B-04FB-48CA-94B3-3ADD36CE4B6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104170" y="1334563"/>
                <a:ext cx="2761558" cy="1945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25866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FDD1C-C9DC-4BF8-ADA7-07416D88B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8" y="2496437"/>
            <a:ext cx="11653523" cy="1680460"/>
          </a:xfrm>
        </p:spPr>
        <p:txBody>
          <a:bodyPr/>
          <a:lstStyle/>
          <a:p>
            <a:r>
              <a:rPr lang="en-US" sz="5400" dirty="0"/>
              <a:t>Why do we need Robust Model Deployment System</a:t>
            </a:r>
          </a:p>
        </p:txBody>
      </p:sp>
    </p:spTree>
    <p:extLst>
      <p:ext uri="{BB962C8B-B14F-4D97-AF65-F5344CB8AC3E}">
        <p14:creationId xmlns:p14="http://schemas.microsoft.com/office/powerpoint/2010/main" val="114518521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Different environments where Model gets deployed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56B097D-97C6-40E6-91F8-6D6D2911F9D8}"/>
              </a:ext>
            </a:extLst>
          </p:cNvPr>
          <p:cNvSpPr txBox="1"/>
          <p:nvPr/>
        </p:nvSpPr>
        <p:spPr>
          <a:xfrm>
            <a:off x="803830" y="1517187"/>
            <a:ext cx="9548484" cy="3823625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eb Application / e-commerce portal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tch Processing Systems / Hadoop / RDBMS (SQL Server)</a:t>
            </a: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al time Processing Systems / Middleware (Biztalk or Service Bus)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eb APIs / Microservices / Modern Infra or Cloud based serverless architecture (Azure Functions)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mbedded in Devices (Mobile Phones, Medical Devices etc.)</a:t>
            </a:r>
          </a:p>
        </p:txBody>
      </p:sp>
    </p:spTree>
    <p:extLst>
      <p:ext uri="{BB962C8B-B14F-4D97-AF65-F5344CB8AC3E}">
        <p14:creationId xmlns:p14="http://schemas.microsoft.com/office/powerpoint/2010/main" val="37472771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C960EF0-21E4-417A-94E5-E1B7254B2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 Agile to this proce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927E80-9585-45B8-B26B-71F89DE63C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843" y="1328058"/>
            <a:ext cx="5649686" cy="5080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146690F-BC0B-4EFA-AC89-9ACD8932CE00}"/>
              </a:ext>
            </a:extLst>
          </p:cNvPr>
          <p:cNvSpPr txBox="1"/>
          <p:nvPr/>
        </p:nvSpPr>
        <p:spPr>
          <a:xfrm>
            <a:off x="6721929" y="1524000"/>
            <a:ext cx="3249385" cy="392722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ployment Should support A/B testing and experiment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upport Measuring and Evaluating model performanc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ire process should be fast and adaptive</a:t>
            </a:r>
          </a:p>
        </p:txBody>
      </p:sp>
    </p:spTree>
    <p:extLst>
      <p:ext uri="{BB962C8B-B14F-4D97-AF65-F5344CB8AC3E}">
        <p14:creationId xmlns:p14="http://schemas.microsoft.com/office/powerpoint/2010/main" val="396565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Different environments where Model gets deployed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527F7C-B053-48B6-9CF8-8DA0964CEB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0" y="106089"/>
            <a:ext cx="11881758" cy="63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07075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Ideal Scoring Environmen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DA0D76-A6E9-489C-81C1-9618373E1920}"/>
              </a:ext>
            </a:extLst>
          </p:cNvPr>
          <p:cNvSpPr txBox="1"/>
          <p:nvPr/>
        </p:nvSpPr>
        <p:spPr>
          <a:xfrm>
            <a:off x="674914" y="1360714"/>
            <a:ext cx="3548743" cy="276075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LAs to Consider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ponse Time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roughput (predictions per second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time / Reliability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AFB7C5-427D-4029-8915-429353953253}"/>
              </a:ext>
            </a:extLst>
          </p:cNvPr>
          <p:cNvSpPr txBox="1"/>
          <p:nvPr/>
        </p:nvSpPr>
        <p:spPr>
          <a:xfrm>
            <a:off x="5214257" y="1360713"/>
            <a:ext cx="3548743" cy="253915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echnology Stack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/C++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egacy (Mainframe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Java/C#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888B66-2ED2-4D00-8DDA-64CFF37711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914" y="3369130"/>
            <a:ext cx="8931729" cy="3358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39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Online Learning and Open/Closed Loo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995AB5-7DE1-44B6-9D9D-E145B7011F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442" y="1318392"/>
            <a:ext cx="11723914" cy="4700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6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Model Scoring use cases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C6753A-BB15-4153-99F9-7853D58CD4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262" y="1366156"/>
            <a:ext cx="5438095" cy="52299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B001F4-F658-40B4-8AD3-0E8F7F899B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1671" y="1366156"/>
            <a:ext cx="5050971" cy="522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6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FDD1C-C9DC-4BF8-ADA7-07416D88B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8" y="2496437"/>
            <a:ext cx="11653523" cy="932563"/>
          </a:xfrm>
        </p:spPr>
        <p:txBody>
          <a:bodyPr/>
          <a:lstStyle/>
          <a:p>
            <a:r>
              <a:rPr lang="en-US" sz="5400" dirty="0"/>
              <a:t>Architecture Options – Model Scoring</a:t>
            </a:r>
          </a:p>
        </p:txBody>
      </p:sp>
    </p:spTree>
    <p:extLst>
      <p:ext uri="{BB962C8B-B14F-4D97-AF65-F5344CB8AC3E}">
        <p14:creationId xmlns:p14="http://schemas.microsoft.com/office/powerpoint/2010/main" val="297827000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23CB3-4656-4913-84CF-70A8866AD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277696"/>
            <a:ext cx="11655840" cy="899665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CA9913E9-F299-439D-9BB0-C159865268F9}"/>
              </a:ext>
            </a:extLst>
          </p:cNvPr>
          <p:cNvSpPr txBox="1">
            <a:spLocks/>
          </p:cNvSpPr>
          <p:nvPr/>
        </p:nvSpPr>
        <p:spPr>
          <a:xfrm>
            <a:off x="357742" y="1424883"/>
            <a:ext cx="6058961" cy="2581692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367" fontAlgn="base">
              <a:spcBef>
                <a:spcPts val="600"/>
              </a:spcBef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cs typeface="Segoe UI" panose="020B0502040204020203" pitchFamily="34" charset="0"/>
              </a:rPr>
              <a:t>Databricks is the team which started the Spark project at UC Berkeley in 2009, the goad was to make big data simple and building a Unified Analytics Platform</a:t>
            </a: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endParaRPr kumimoji="0" lang="en-US" sz="1600" b="0" i="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EAEAEA">
                  <a:lumMod val="25000"/>
                </a:srgbClr>
              </a:solidFill>
              <a:effectLst/>
              <a:uLnTx/>
              <a:uFillTx/>
              <a:latin typeface="Segoe UI Semilight"/>
              <a:ea typeface="+mn-ea"/>
              <a:cs typeface="Segoe UI" panose="020B0502040204020203" pitchFamily="34" charset="0"/>
            </a:endParaRP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Databricks is a </a:t>
            </a:r>
            <a:r>
              <a:rPr kumimoji="0" lang="en-US" sz="1600" b="1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party </a:t>
            </a: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ervice on Azure.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Unlike with other clouds, it is not an Azure Marketplace or a 3</a:t>
            </a:r>
            <a:r>
              <a:rPr kumimoji="0" lang="en-US" sz="1400" b="0" i="0" u="none" strike="noStrike" kern="0" cap="none" spc="0" normalizeH="0" baseline="3000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rd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 party hosted service. </a:t>
            </a: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Databricks is integrated seamlessly with Azure services:</a:t>
            </a: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Eliminates need to create a separate account with Databricks</a:t>
            </a: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7" name="Freeform: Shape 1">
            <a:extLst>
              <a:ext uri="{FF2B5EF4-FFF2-40B4-BE49-F238E27FC236}">
                <a16:creationId xmlns:a16="http://schemas.microsoft.com/office/drawing/2014/main" id="{ED361D54-B22F-46C7-BE09-30B957A8F51E}"/>
              </a:ext>
            </a:extLst>
          </p:cNvPr>
          <p:cNvSpPr/>
          <p:nvPr/>
        </p:nvSpPr>
        <p:spPr bwMode="auto">
          <a:xfrm>
            <a:off x="6866022" y="1994828"/>
            <a:ext cx="4968236" cy="2752102"/>
          </a:xfrm>
          <a:custGeom>
            <a:avLst/>
            <a:gdLst>
              <a:gd name="connsiteX0" fmla="*/ 3361107 w 6810924"/>
              <a:gd name="connsiteY0" fmla="*/ 0 h 3759126"/>
              <a:gd name="connsiteX1" fmla="*/ 4838321 w 6810924"/>
              <a:gd name="connsiteY1" fmla="*/ 979163 h 3759126"/>
              <a:gd name="connsiteX2" fmla="*/ 4860282 w 6810924"/>
              <a:gd name="connsiteY2" fmla="*/ 1039166 h 3759126"/>
              <a:gd name="connsiteX3" fmla="*/ 4977487 w 6810924"/>
              <a:gd name="connsiteY3" fmla="*/ 996268 h 3759126"/>
              <a:gd name="connsiteX4" fmla="*/ 5397728 w 6810924"/>
              <a:gd name="connsiteY4" fmla="*/ 932734 h 3759126"/>
              <a:gd name="connsiteX5" fmla="*/ 6810924 w 6810924"/>
              <a:gd name="connsiteY5" fmla="*/ 2345930 h 3759126"/>
              <a:gd name="connsiteX6" fmla="*/ 5542219 w 6810924"/>
              <a:gd name="connsiteY6" fmla="*/ 3751830 h 3759126"/>
              <a:gd name="connsiteX7" fmla="*/ 5469009 w 6810924"/>
              <a:gd name="connsiteY7" fmla="*/ 3755527 h 3759126"/>
              <a:gd name="connsiteX8" fmla="*/ 5469009 w 6810924"/>
              <a:gd name="connsiteY8" fmla="*/ 3759125 h 3759126"/>
              <a:gd name="connsiteX9" fmla="*/ 5397748 w 6810924"/>
              <a:gd name="connsiteY9" fmla="*/ 3759125 h 3759126"/>
              <a:gd name="connsiteX10" fmla="*/ 5397728 w 6810924"/>
              <a:gd name="connsiteY10" fmla="*/ 3759126 h 3759126"/>
              <a:gd name="connsiteX11" fmla="*/ 5397708 w 6810924"/>
              <a:gd name="connsiteY11" fmla="*/ 3759125 h 3759126"/>
              <a:gd name="connsiteX12" fmla="*/ 779509 w 6810924"/>
              <a:gd name="connsiteY12" fmla="*/ 3759125 h 3759126"/>
              <a:gd name="connsiteX13" fmla="*/ 779489 w 6810924"/>
              <a:gd name="connsiteY13" fmla="*/ 3759126 h 3759126"/>
              <a:gd name="connsiteX14" fmla="*/ 779470 w 6810924"/>
              <a:gd name="connsiteY14" fmla="*/ 3759125 h 3759126"/>
              <a:gd name="connsiteX15" fmla="*/ 760443 w 6810924"/>
              <a:gd name="connsiteY15" fmla="*/ 3759125 h 3759126"/>
              <a:gd name="connsiteX16" fmla="*/ 760443 w 6810924"/>
              <a:gd name="connsiteY16" fmla="*/ 3758165 h 3759126"/>
              <a:gd name="connsiteX17" fmla="*/ 699791 w 6810924"/>
              <a:gd name="connsiteY17" fmla="*/ 3755102 h 3759126"/>
              <a:gd name="connsiteX18" fmla="*/ 0 w 6810924"/>
              <a:gd name="connsiteY18" fmla="*/ 2979637 h 3759126"/>
              <a:gd name="connsiteX19" fmla="*/ 779489 w 6810924"/>
              <a:gd name="connsiteY19" fmla="*/ 2200148 h 3759126"/>
              <a:gd name="connsiteX20" fmla="*/ 869383 w 6810924"/>
              <a:gd name="connsiteY20" fmla="*/ 2205818 h 3759126"/>
              <a:gd name="connsiteX21" fmla="*/ 855381 w 6810924"/>
              <a:gd name="connsiteY21" fmla="*/ 2066924 h 3759126"/>
              <a:gd name="connsiteX22" fmla="*/ 1782273 w 6810924"/>
              <a:gd name="connsiteY22" fmla="*/ 1140032 h 3759126"/>
              <a:gd name="connsiteX23" fmla="*/ 1825926 w 6810924"/>
              <a:gd name="connsiteY23" fmla="*/ 1142236 h 3759126"/>
              <a:gd name="connsiteX24" fmla="*/ 1829983 w 6810924"/>
              <a:gd name="connsiteY24" fmla="*/ 1126458 h 3759126"/>
              <a:gd name="connsiteX25" fmla="*/ 3361107 w 6810924"/>
              <a:gd name="connsiteY25" fmla="*/ 0 h 3759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810924" h="3759126">
                <a:moveTo>
                  <a:pt x="3361107" y="0"/>
                </a:moveTo>
                <a:cubicBezTo>
                  <a:pt x="4025175" y="0"/>
                  <a:pt x="4594941" y="403750"/>
                  <a:pt x="4838321" y="979163"/>
                </a:cubicBezTo>
                <a:lnTo>
                  <a:pt x="4860282" y="1039166"/>
                </a:lnTo>
                <a:lnTo>
                  <a:pt x="4977487" y="996268"/>
                </a:lnTo>
                <a:cubicBezTo>
                  <a:pt x="5110241" y="954978"/>
                  <a:pt x="5251387" y="932734"/>
                  <a:pt x="5397728" y="932734"/>
                </a:cubicBezTo>
                <a:cubicBezTo>
                  <a:pt x="6178215" y="932734"/>
                  <a:pt x="6810924" y="1565443"/>
                  <a:pt x="6810924" y="2345930"/>
                </a:cubicBezTo>
                <a:cubicBezTo>
                  <a:pt x="6810924" y="3077637"/>
                  <a:pt x="6254832" y="3679460"/>
                  <a:pt x="5542219" y="3751830"/>
                </a:cubicBezTo>
                <a:lnTo>
                  <a:pt x="5469009" y="3755527"/>
                </a:lnTo>
                <a:lnTo>
                  <a:pt x="5469009" y="3759125"/>
                </a:lnTo>
                <a:lnTo>
                  <a:pt x="5397748" y="3759125"/>
                </a:lnTo>
                <a:lnTo>
                  <a:pt x="5397728" y="3759126"/>
                </a:lnTo>
                <a:lnTo>
                  <a:pt x="5397708" y="3759125"/>
                </a:lnTo>
                <a:lnTo>
                  <a:pt x="779509" y="3759125"/>
                </a:lnTo>
                <a:lnTo>
                  <a:pt x="779489" y="3759126"/>
                </a:lnTo>
                <a:lnTo>
                  <a:pt x="779470" y="3759125"/>
                </a:lnTo>
                <a:lnTo>
                  <a:pt x="760443" y="3759125"/>
                </a:lnTo>
                <a:lnTo>
                  <a:pt x="760443" y="3758165"/>
                </a:lnTo>
                <a:lnTo>
                  <a:pt x="699791" y="3755102"/>
                </a:lnTo>
                <a:cubicBezTo>
                  <a:pt x="306729" y="3715184"/>
                  <a:pt x="0" y="3383231"/>
                  <a:pt x="0" y="2979637"/>
                </a:cubicBezTo>
                <a:cubicBezTo>
                  <a:pt x="0" y="2549137"/>
                  <a:pt x="348989" y="2200148"/>
                  <a:pt x="779489" y="2200148"/>
                </a:cubicBezTo>
                <a:lnTo>
                  <a:pt x="869383" y="2205818"/>
                </a:lnTo>
                <a:lnTo>
                  <a:pt x="855381" y="2066924"/>
                </a:lnTo>
                <a:cubicBezTo>
                  <a:pt x="855381" y="1555016"/>
                  <a:pt x="1270365" y="1140032"/>
                  <a:pt x="1782273" y="1140032"/>
                </a:cubicBezTo>
                <a:lnTo>
                  <a:pt x="1825926" y="1142236"/>
                </a:lnTo>
                <a:lnTo>
                  <a:pt x="1829983" y="1126458"/>
                </a:lnTo>
                <a:cubicBezTo>
                  <a:pt x="2032967" y="473846"/>
                  <a:pt x="2641701" y="0"/>
                  <a:pt x="3361107" y="0"/>
                </a:cubicBezTo>
                <a:close/>
              </a:path>
            </a:pathLst>
          </a:cu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MS cloud text">
            <a:extLst>
              <a:ext uri="{FF2B5EF4-FFF2-40B4-BE49-F238E27FC236}">
                <a16:creationId xmlns:a16="http://schemas.microsoft.com/office/drawing/2014/main" id="{B24C7F1D-2C36-4CE4-AC5A-197A0BAF4763}"/>
              </a:ext>
            </a:extLst>
          </p:cNvPr>
          <p:cNvSpPr txBox="1">
            <a:spLocks/>
          </p:cNvSpPr>
          <p:nvPr/>
        </p:nvSpPr>
        <p:spPr>
          <a:xfrm>
            <a:off x="7030933" y="3925957"/>
            <a:ext cx="4968236" cy="820973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lang="en-US" sz="4800" b="0" cap="none" spc="-102" baseline="0" dirty="0" smtClean="0">
                <a:ln w="3175">
                  <a:noFill/>
                </a:ln>
                <a:gradFill>
                  <a:gsLst>
                    <a:gs pos="21239">
                      <a:schemeClr val="bg2">
                        <a:lumMod val="50000"/>
                      </a:schemeClr>
                    </a:gs>
                    <a:gs pos="84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effectLst/>
                <a:latin typeface="+mj-lt"/>
                <a:cs typeface="Segoe UI" pitchFamily="34" charset="0"/>
              </a:defRPr>
            </a:lvl1pPr>
          </a:lstStyle>
          <a:p>
            <a:pPr marL="0" marR="0" lvl="0" indent="0" algn="ctr" defTabSz="89638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100" normalizeH="0" baseline="0" noProof="0" dirty="0">
                <a:ln w="3175">
                  <a:noFill/>
                </a:ln>
                <a:solidFill>
                  <a:srgbClr val="002050"/>
                </a:solidFill>
                <a:effectLst/>
                <a:uLnTx/>
                <a:uFillTx/>
                <a:latin typeface="Segoe UI Semilight"/>
                <a:ea typeface="+mn-ea"/>
                <a:cs typeface="Segoe UI Semilight" panose="020B0402040204020203" pitchFamily="34" charset="0"/>
              </a:rPr>
              <a:t>Microsoft Azure</a:t>
            </a:r>
            <a:endParaRPr kumimoji="0" lang="en-US" sz="3600" b="0" i="0" u="none" strike="noStrike" kern="0" cap="none" spc="-100" normalizeH="0" baseline="0" noProof="0" dirty="0">
              <a:ln w="3175">
                <a:noFill/>
              </a:ln>
              <a:solidFill>
                <a:srgbClr val="002050"/>
              </a:solidFill>
              <a:effectLst/>
              <a:uLnTx/>
              <a:uFillTx/>
              <a:latin typeface="Segoe UI Light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4100" name="Picture 4" descr="Image result for databricks icon">
            <a:extLst>
              <a:ext uri="{FF2B5EF4-FFF2-40B4-BE49-F238E27FC236}">
                <a16:creationId xmlns:a16="http://schemas.microsoft.com/office/drawing/2014/main" id="{D75E2D2A-F0FD-4DD7-B1CF-7955E9B285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272" y="3078698"/>
            <a:ext cx="2579557" cy="43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6177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79167E-6 2.22222E-6 L 4.79167E-6 0.09629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2" grpId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rchitecture Sample 1 – eCommerce Ap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FF5866-5040-4301-A5CD-1CA87544CD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730" y="1480457"/>
            <a:ext cx="10885714" cy="462983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611EDA69-1B2D-4668-A610-CD5427F985AF}"/>
                  </a:ext>
                </a:extLst>
              </p14:cNvPr>
              <p14:cNvContentPartPr/>
              <p14:nvPr/>
            </p14:nvContentPartPr>
            <p14:xfrm>
              <a:off x="6119889" y="4901040"/>
              <a:ext cx="664560" cy="23904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611EDA69-1B2D-4668-A610-CD5427F985AF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110889" y="4892400"/>
                <a:ext cx="682200" cy="256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5C3E9745-D865-4D47-BF18-67C9A3102F1F}"/>
                  </a:ext>
                </a:extLst>
              </p14:cNvPr>
              <p14:cNvContentPartPr/>
              <p14:nvPr/>
            </p14:nvContentPartPr>
            <p14:xfrm>
              <a:off x="5278209" y="4865400"/>
              <a:ext cx="696600" cy="33372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5C3E9745-D865-4D47-BF18-67C9A3102F1F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69209" y="4856410"/>
                <a:ext cx="714240" cy="35134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27" name="Ink 26">
                <a:extLst>
                  <a:ext uri="{FF2B5EF4-FFF2-40B4-BE49-F238E27FC236}">
                    <a16:creationId xmlns:a16="http://schemas.microsoft.com/office/drawing/2014/main" id="{677F08E5-C5C3-4D57-B726-7E549D93F3BE}"/>
                  </a:ext>
                </a:extLst>
              </p14:cNvPr>
              <p14:cNvContentPartPr/>
              <p14:nvPr/>
            </p14:nvContentPartPr>
            <p14:xfrm>
              <a:off x="2272569" y="3342600"/>
              <a:ext cx="318240" cy="186480"/>
            </p14:xfrm>
          </p:contentPart>
        </mc:Choice>
        <mc:Fallback xmlns="">
          <p:pic>
            <p:nvPicPr>
              <p:cNvPr id="27" name="Ink 26">
                <a:extLst>
                  <a:ext uri="{FF2B5EF4-FFF2-40B4-BE49-F238E27FC236}">
                    <a16:creationId xmlns:a16="http://schemas.microsoft.com/office/drawing/2014/main" id="{677F08E5-C5C3-4D57-B726-7E549D93F3BE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263929" y="3333600"/>
                <a:ext cx="335880" cy="204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CD1359B7-87BB-4E45-93DB-48FE09AAE20E}"/>
                  </a:ext>
                </a:extLst>
              </p14:cNvPr>
              <p14:cNvContentPartPr/>
              <p14:nvPr/>
            </p14:nvContentPartPr>
            <p14:xfrm>
              <a:off x="2678289" y="3253680"/>
              <a:ext cx="980640" cy="356040"/>
            </p14:xfrm>
          </p:contentPart>
        </mc:Choice>
        <mc:Fallback xmlns=""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CD1359B7-87BB-4E45-93DB-48FE09AAE20E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669652" y="3244689"/>
                <a:ext cx="998274" cy="37366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94AD4479-D9D7-4A2F-9350-150C866CD479}"/>
                  </a:ext>
                </a:extLst>
              </p14:cNvPr>
              <p14:cNvContentPartPr/>
              <p14:nvPr/>
            </p14:nvContentPartPr>
            <p14:xfrm>
              <a:off x="1266009" y="3202560"/>
              <a:ext cx="839520" cy="343080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94AD4479-D9D7-4A2F-9350-150C866CD479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1257365" y="3193560"/>
                <a:ext cx="857168" cy="3607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98335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rchitecture Sample 2 – eCommerce Ap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7792A1-769C-412B-AD40-516B39A02D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840" y="1300843"/>
            <a:ext cx="10923917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83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rchitecture Sample 3 – Focus of the topi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3276ED-A127-41AB-9E21-7216720095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0" y="1086599"/>
            <a:ext cx="11602183" cy="548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03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FDD1C-C9DC-4BF8-ADA7-07416D88B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8" y="2496437"/>
            <a:ext cx="11653523" cy="932563"/>
          </a:xfrm>
        </p:spPr>
        <p:txBody>
          <a:bodyPr/>
          <a:lstStyle/>
          <a:p>
            <a:r>
              <a:rPr lang="en-US" sz="5400" dirty="0"/>
              <a:t>Azure Databricks – ML Model Export</a:t>
            </a:r>
          </a:p>
        </p:txBody>
      </p:sp>
    </p:spTree>
    <p:extLst>
      <p:ext uri="{BB962C8B-B14F-4D97-AF65-F5344CB8AC3E}">
        <p14:creationId xmlns:p14="http://schemas.microsoft.com/office/powerpoint/2010/main" val="403122571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86143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Azure Databricks Model Deployment Life Cycle  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40EAD2C3-77D1-4F05-99C7-F181B3C686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5701644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80655292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86143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Azure Databricks Model Deployment Options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FDEA3B23-C117-47AB-883F-E0D5979ABC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7458046"/>
              </p:ext>
            </p:extLst>
          </p:nvPr>
        </p:nvGraphicFramePr>
        <p:xfrm>
          <a:off x="2032000" y="1001486"/>
          <a:ext cx="8128000" cy="5136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51821898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86143"/>
          </a:xfrm>
        </p:spPr>
        <p:txBody>
          <a:bodyPr/>
          <a:lstStyle/>
          <a:p>
            <a:pPr defTabSz="914192"/>
            <a:r>
              <a:rPr lang="en-US" sz="2400" dirty="0" err="1">
                <a:solidFill>
                  <a:srgbClr val="0078D7"/>
                </a:solidFill>
              </a:rPr>
              <a:t>Mleap</a:t>
            </a:r>
            <a:r>
              <a:rPr lang="en-US" sz="2400" dirty="0">
                <a:solidFill>
                  <a:srgbClr val="0078D7"/>
                </a:solidFill>
              </a:rPr>
              <a:t> Components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1EAB71-D6BB-41F2-AAA1-C77FCE2F4A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050" y="2081212"/>
            <a:ext cx="10629900" cy="269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98472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54E4C0-D20F-45FA-A331-0A10E2A65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What are these customers looking to do nex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ADF9B1-412E-4278-8CFB-8C232B744519}"/>
              </a:ext>
            </a:extLst>
          </p:cNvPr>
          <p:cNvSpPr/>
          <p:nvPr/>
        </p:nvSpPr>
        <p:spPr bwMode="auto">
          <a:xfrm>
            <a:off x="457201" y="3685476"/>
            <a:ext cx="2255581" cy="47103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18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015AE5-EFCC-4EF5-805F-984E1E132DD2}"/>
              </a:ext>
            </a:extLst>
          </p:cNvPr>
          <p:cNvSpPr/>
          <p:nvPr/>
        </p:nvSpPr>
        <p:spPr bwMode="auto">
          <a:xfrm>
            <a:off x="2712502" y="3685476"/>
            <a:ext cx="2255581" cy="47103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19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8DD42AF-891B-46F2-9A0D-20A791EC49ED}"/>
              </a:ext>
            </a:extLst>
          </p:cNvPr>
          <p:cNvSpPr/>
          <p:nvPr/>
        </p:nvSpPr>
        <p:spPr bwMode="auto">
          <a:xfrm>
            <a:off x="4968083" y="3685476"/>
            <a:ext cx="2255581" cy="47103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2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435962-FADF-4CA6-AC26-9A3BC1F892F2}"/>
              </a:ext>
            </a:extLst>
          </p:cNvPr>
          <p:cNvSpPr/>
          <p:nvPr/>
        </p:nvSpPr>
        <p:spPr bwMode="auto">
          <a:xfrm>
            <a:off x="7223384" y="3685476"/>
            <a:ext cx="2255581" cy="47103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2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AC1D5AB-DCA1-4D28-8C97-4FCD9492BD78}"/>
              </a:ext>
            </a:extLst>
          </p:cNvPr>
          <p:cNvSpPr/>
          <p:nvPr/>
        </p:nvSpPr>
        <p:spPr bwMode="auto">
          <a:xfrm>
            <a:off x="9479220" y="3685476"/>
            <a:ext cx="2255581" cy="47103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22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13F6DFF-B8ED-4376-B2C4-AA10090CB56B}"/>
              </a:ext>
            </a:extLst>
          </p:cNvPr>
          <p:cNvCxnSpPr>
            <a:cxnSpLocks/>
          </p:cNvCxnSpPr>
          <p:nvPr/>
        </p:nvCxnSpPr>
        <p:spPr>
          <a:xfrm flipV="1">
            <a:off x="1584991" y="2534856"/>
            <a:ext cx="0" cy="1150621"/>
          </a:xfrm>
          <a:prstGeom prst="line">
            <a:avLst/>
          </a:prstGeom>
          <a:ln w="6350">
            <a:solidFill>
              <a:schemeClr val="tx2"/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7A970CCA-4029-4E0D-A48C-732C774F63A5}"/>
              </a:ext>
            </a:extLst>
          </p:cNvPr>
          <p:cNvSpPr/>
          <p:nvPr/>
        </p:nvSpPr>
        <p:spPr>
          <a:xfrm>
            <a:off x="514469" y="1382817"/>
            <a:ext cx="2141043" cy="91439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Deep neural networks will be a standard component i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8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f data scientists’ tool boxes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AA43E20-ADAD-4F1B-8293-D23CC6D897D1}"/>
              </a:ext>
            </a:extLst>
          </p:cNvPr>
          <p:cNvCxnSpPr>
            <a:cxnSpLocks/>
          </p:cNvCxnSpPr>
          <p:nvPr/>
        </p:nvCxnSpPr>
        <p:spPr>
          <a:xfrm>
            <a:off x="5575012" y="4156510"/>
            <a:ext cx="0" cy="1150621"/>
          </a:xfrm>
          <a:prstGeom prst="line">
            <a:avLst/>
          </a:prstGeom>
          <a:ln w="6350">
            <a:solidFill>
              <a:schemeClr val="tx2"/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06DBB2AF-589C-42A9-AD33-17B3FF27FF8A}"/>
              </a:ext>
            </a:extLst>
          </p:cNvPr>
          <p:cNvSpPr/>
          <p:nvPr/>
        </p:nvSpPr>
        <p:spPr>
          <a:xfrm>
            <a:off x="4121944" y="5552776"/>
            <a:ext cx="2906136" cy="91439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More tha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4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f data science tasks will be automated, resulting in increased productivity and broader usage by citizen data scientists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8EE2B5A-7E49-4F4B-B116-360169692907}"/>
              </a:ext>
            </a:extLst>
          </p:cNvPr>
          <p:cNvCxnSpPr>
            <a:cxnSpLocks/>
          </p:cNvCxnSpPr>
          <p:nvPr/>
        </p:nvCxnSpPr>
        <p:spPr>
          <a:xfrm flipV="1">
            <a:off x="6690391" y="2534856"/>
            <a:ext cx="0" cy="1150621"/>
          </a:xfrm>
          <a:prstGeom prst="line">
            <a:avLst/>
          </a:prstGeom>
          <a:ln w="6350">
            <a:solidFill>
              <a:schemeClr val="tx2"/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A501EAD9-89E9-4D6F-ABF1-A31B421B732D}"/>
              </a:ext>
            </a:extLst>
          </p:cNvPr>
          <p:cNvSpPr/>
          <p:nvPr/>
        </p:nvSpPr>
        <p:spPr>
          <a:xfrm>
            <a:off x="5619869" y="1382817"/>
            <a:ext cx="2141043" cy="91439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2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f companies will dedicate workers to monitor and guide neural networks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631B1B-ED16-489B-B3C7-BCD05A73993E}"/>
              </a:ext>
            </a:extLst>
          </p:cNvPr>
          <p:cNvCxnSpPr>
            <a:cxnSpLocks/>
          </p:cNvCxnSpPr>
          <p:nvPr/>
        </p:nvCxnSpPr>
        <p:spPr>
          <a:xfrm>
            <a:off x="8351174" y="4156510"/>
            <a:ext cx="0" cy="1150621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E66E4913-068E-4753-94C6-D2600C4D87B6}"/>
              </a:ext>
            </a:extLst>
          </p:cNvPr>
          <p:cNvSpPr/>
          <p:nvPr/>
        </p:nvSpPr>
        <p:spPr>
          <a:xfrm>
            <a:off x="7268788" y="5552776"/>
            <a:ext cx="2164772" cy="91439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More tha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half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50000"/>
                  </a:srgbClr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f global enterprises already using cloud today will adopt an all-in cloud strategy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7744502-2381-4C6A-9DEB-117C72760819}"/>
              </a:ext>
            </a:extLst>
          </p:cNvPr>
          <p:cNvCxnSpPr>
            <a:cxnSpLocks/>
          </p:cNvCxnSpPr>
          <p:nvPr/>
        </p:nvCxnSpPr>
        <p:spPr>
          <a:xfrm flipV="1">
            <a:off x="10607010" y="2534856"/>
            <a:ext cx="0" cy="1150621"/>
          </a:xfrm>
          <a:prstGeom prst="line">
            <a:avLst/>
          </a:prstGeom>
          <a:ln w="6350">
            <a:solidFill>
              <a:schemeClr val="tx2"/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69507F34-507A-458C-96B5-4FB8037173CF}"/>
              </a:ext>
            </a:extLst>
          </p:cNvPr>
          <p:cNvSpPr/>
          <p:nvPr/>
        </p:nvSpPr>
        <p:spPr>
          <a:xfrm>
            <a:off x="9418381" y="1382817"/>
            <a:ext cx="2316420" cy="1150621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rPr>
              <a:t>Data scientists will no longer need to manage infrastructure or implement custom code – the systems will scale for them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2727EBEB-33DB-4A45-8B04-7B45D9B6B0D7}"/>
              </a:ext>
            </a:extLst>
          </p:cNvPr>
          <p:cNvSpPr/>
          <p:nvPr/>
        </p:nvSpPr>
        <p:spPr bwMode="auto">
          <a:xfrm rot="5400000">
            <a:off x="2618780" y="3867272"/>
            <a:ext cx="294376" cy="107442"/>
          </a:xfrm>
          <a:prstGeom prst="triangle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80F6491C-7C46-4BA4-A2F0-16A84BE2B0EF}"/>
              </a:ext>
            </a:extLst>
          </p:cNvPr>
          <p:cNvSpPr/>
          <p:nvPr/>
        </p:nvSpPr>
        <p:spPr bwMode="auto">
          <a:xfrm rot="5400000">
            <a:off x="4874361" y="3867272"/>
            <a:ext cx="294376" cy="107442"/>
          </a:xfrm>
          <a:prstGeom prst="triangle">
            <a:avLst/>
          </a:prstGeom>
          <a:solidFill>
            <a:srgbClr val="003C6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6452BA7C-CC02-4BA2-B5DF-9C11408301D6}"/>
              </a:ext>
            </a:extLst>
          </p:cNvPr>
          <p:cNvSpPr/>
          <p:nvPr/>
        </p:nvSpPr>
        <p:spPr bwMode="auto">
          <a:xfrm rot="5400000">
            <a:off x="7129917" y="3867272"/>
            <a:ext cx="294376" cy="107442"/>
          </a:xfrm>
          <a:prstGeom prst="triangle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E168A475-D2C1-4C2C-B04E-F42C5494FC14}"/>
              </a:ext>
            </a:extLst>
          </p:cNvPr>
          <p:cNvSpPr/>
          <p:nvPr/>
        </p:nvSpPr>
        <p:spPr bwMode="auto">
          <a:xfrm rot="5400000">
            <a:off x="9385498" y="3867272"/>
            <a:ext cx="294376" cy="107442"/>
          </a:xfrm>
          <a:prstGeom prst="triangle">
            <a:avLst/>
          </a:prstGeom>
          <a:solidFill>
            <a:srgbClr val="003C6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248048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FDD1C-C9DC-4BF8-ADA7-07416D88B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8" y="2496437"/>
            <a:ext cx="11653523" cy="932563"/>
          </a:xfrm>
        </p:spPr>
        <p:txBody>
          <a:bodyPr/>
          <a:lstStyle/>
          <a:p>
            <a:r>
              <a:rPr lang="en-US" sz="54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53488140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screen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65" t="3005" r="6165" b="1684"/>
          <a:stretch/>
        </p:blipFill>
        <p:spPr>
          <a:xfrm>
            <a:off x="4751555" y="974"/>
            <a:ext cx="7439582" cy="685605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4744621" y="974"/>
            <a:ext cx="7439582" cy="6856540"/>
          </a:xfrm>
          <a:prstGeom prst="rect">
            <a:avLst/>
          </a:prstGeom>
          <a:gradFill flip="none" rotWithShape="1">
            <a:gsLst>
              <a:gs pos="2917">
                <a:schemeClr val="bg1"/>
              </a:gs>
              <a:gs pos="50000">
                <a:schemeClr val="bg1">
                  <a:alpha val="70000"/>
                </a:schemeClr>
              </a:gs>
              <a:gs pos="7600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751555" y="988"/>
            <a:ext cx="7440445" cy="685654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83779" y="2894046"/>
            <a:ext cx="4467777" cy="106990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1470"/>
              </a:spcAft>
              <a:defRPr/>
            </a:pPr>
            <a:r>
              <a:rPr lang="en-US" sz="3529" kern="0" dirty="0">
                <a:solidFill>
                  <a:schemeClr val="accent5"/>
                </a:solidFill>
                <a:latin typeface="Segoe UI Light"/>
              </a:rPr>
              <a:t>Manjunath Suryanarayan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04150" y="1041665"/>
            <a:ext cx="5071591" cy="983434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olution Architect at Microsoft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ig Data | Machine Learning | AI | Clou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04150" y="2064287"/>
            <a:ext cx="5282307" cy="983434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ound 18+ Years of Experience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Microsoft | IQVIA | Aditi Technologies | Dell | Mindtre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104150" y="4437245"/>
            <a:ext cx="5071591" cy="1214331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MSc. Information Technology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Microsoft Cloud Certified| Microsoft Big Data Certified | Microsoft Data Science Certifie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104150" y="3002957"/>
            <a:ext cx="6038864" cy="1594499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duct Dev, Services and Sales teams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Engineering| Operations &amp; Management </a:t>
            </a:r>
            <a:b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</a:b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Technology| Leadership | Solution Selling, Pre-Sa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04150" y="5532183"/>
            <a:ext cx="5071591" cy="1291275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tact Me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https://www.linkedin.com/in/manjj/ 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masuryan@microsoft.com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274277" y="302069"/>
            <a:ext cx="6513408" cy="5811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386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3529" kern="0" dirty="0">
                <a:solidFill>
                  <a:schemeClr val="bg1"/>
                </a:solidFill>
                <a:latin typeface="+mj-lt"/>
              </a:rPr>
              <a:t>About Me</a:t>
            </a:r>
          </a:p>
        </p:txBody>
      </p:sp>
      <p:sp>
        <p:nvSpPr>
          <p:cNvPr id="28" name="Freeform 22"/>
          <p:cNvSpPr>
            <a:spLocks noChangeAspect="1"/>
          </p:cNvSpPr>
          <p:nvPr/>
        </p:nvSpPr>
        <p:spPr bwMode="auto">
          <a:xfrm>
            <a:off x="5403327" y="1191852"/>
            <a:ext cx="661251" cy="437566"/>
          </a:xfrm>
          <a:custGeom>
            <a:avLst/>
            <a:gdLst>
              <a:gd name="T0" fmla="*/ 4942 w 7181"/>
              <a:gd name="T1" fmla="*/ 414 h 4752"/>
              <a:gd name="T2" fmla="*/ 3024 w 7181"/>
              <a:gd name="T3" fmla="*/ 152 h 4752"/>
              <a:gd name="T4" fmla="*/ 0 w 7181"/>
              <a:gd name="T5" fmla="*/ 2353 h 4752"/>
              <a:gd name="T6" fmla="*/ 2201 w 7181"/>
              <a:gd name="T7" fmla="*/ 4282 h 4752"/>
              <a:gd name="T8" fmla="*/ 4848 w 7181"/>
              <a:gd name="T9" fmla="*/ 4351 h 4752"/>
              <a:gd name="T10" fmla="*/ 7102 w 7181"/>
              <a:gd name="T11" fmla="*/ 2474 h 4752"/>
              <a:gd name="T12" fmla="*/ 7181 w 7181"/>
              <a:gd name="T13" fmla="*/ 2350 h 4752"/>
              <a:gd name="T14" fmla="*/ 4942 w 7181"/>
              <a:gd name="T15" fmla="*/ 414 h 4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81" h="4752">
                <a:moveTo>
                  <a:pt x="4942" y="414"/>
                </a:moveTo>
                <a:cubicBezTo>
                  <a:pt x="4333" y="124"/>
                  <a:pt x="3691" y="0"/>
                  <a:pt x="3024" y="152"/>
                </a:cubicBezTo>
                <a:cubicBezTo>
                  <a:pt x="1710" y="456"/>
                  <a:pt x="812" y="1327"/>
                  <a:pt x="0" y="2353"/>
                </a:cubicBezTo>
                <a:cubicBezTo>
                  <a:pt x="608" y="3169"/>
                  <a:pt x="1306" y="3839"/>
                  <a:pt x="2201" y="4282"/>
                </a:cubicBezTo>
                <a:cubicBezTo>
                  <a:pt x="3069" y="4710"/>
                  <a:pt x="3957" y="4752"/>
                  <a:pt x="4848" y="4351"/>
                </a:cubicBezTo>
                <a:cubicBezTo>
                  <a:pt x="5771" y="3932"/>
                  <a:pt x="6490" y="3269"/>
                  <a:pt x="7102" y="2474"/>
                </a:cubicBezTo>
                <a:cubicBezTo>
                  <a:pt x="7129" y="2436"/>
                  <a:pt x="7154" y="2395"/>
                  <a:pt x="7181" y="2350"/>
                </a:cubicBezTo>
                <a:cubicBezTo>
                  <a:pt x="6570" y="1534"/>
                  <a:pt x="5861" y="853"/>
                  <a:pt x="4942" y="4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505050"/>
              </a:solidFill>
            </a:endParaRPr>
          </a:p>
        </p:txBody>
      </p:sp>
      <p:sp>
        <p:nvSpPr>
          <p:cNvPr id="29" name="Freeform 18"/>
          <p:cNvSpPr>
            <a:spLocks noChangeAspect="1"/>
          </p:cNvSpPr>
          <p:nvPr/>
        </p:nvSpPr>
        <p:spPr bwMode="auto">
          <a:xfrm>
            <a:off x="5440688" y="2142401"/>
            <a:ext cx="586529" cy="513795"/>
          </a:xfrm>
          <a:custGeom>
            <a:avLst/>
            <a:gdLst>
              <a:gd name="T0" fmla="*/ 115 w 6349"/>
              <a:gd name="T1" fmla="*/ 1548 h 5575"/>
              <a:gd name="T2" fmla="*/ 1324 w 6349"/>
              <a:gd name="T3" fmla="*/ 225 h 5575"/>
              <a:gd name="T4" fmla="*/ 5039 w 6349"/>
              <a:gd name="T5" fmla="*/ 228 h 5575"/>
              <a:gd name="T6" fmla="*/ 6221 w 6349"/>
              <a:gd name="T7" fmla="*/ 1445 h 5575"/>
              <a:gd name="T8" fmla="*/ 6235 w 6349"/>
              <a:gd name="T9" fmla="*/ 3263 h 5575"/>
              <a:gd name="T10" fmla="*/ 4974 w 6349"/>
              <a:gd name="T11" fmla="*/ 4531 h 5575"/>
              <a:gd name="T12" fmla="*/ 3498 w 6349"/>
              <a:gd name="T13" fmla="*/ 4683 h 5575"/>
              <a:gd name="T14" fmla="*/ 3298 w 6349"/>
              <a:gd name="T15" fmla="*/ 4745 h 5575"/>
              <a:gd name="T16" fmla="*/ 2475 w 6349"/>
              <a:gd name="T17" fmla="*/ 5284 h 5575"/>
              <a:gd name="T18" fmla="*/ 1414 w 6349"/>
              <a:gd name="T19" fmla="*/ 5561 h 5575"/>
              <a:gd name="T20" fmla="*/ 1936 w 6349"/>
              <a:gd name="T21" fmla="*/ 4628 h 5575"/>
              <a:gd name="T22" fmla="*/ 1490 w 6349"/>
              <a:gd name="T23" fmla="*/ 4559 h 5575"/>
              <a:gd name="T24" fmla="*/ 118 w 6349"/>
              <a:gd name="T25" fmla="*/ 3270 h 5575"/>
              <a:gd name="T26" fmla="*/ 115 w 6349"/>
              <a:gd name="T27" fmla="*/ 1548 h 5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349" h="5575">
                <a:moveTo>
                  <a:pt x="115" y="1548"/>
                </a:moveTo>
                <a:cubicBezTo>
                  <a:pt x="211" y="957"/>
                  <a:pt x="595" y="353"/>
                  <a:pt x="1324" y="225"/>
                </a:cubicBezTo>
                <a:cubicBezTo>
                  <a:pt x="2565" y="10"/>
                  <a:pt x="3802" y="0"/>
                  <a:pt x="5039" y="228"/>
                </a:cubicBezTo>
                <a:cubicBezTo>
                  <a:pt x="5713" y="353"/>
                  <a:pt x="6086" y="792"/>
                  <a:pt x="6221" y="1445"/>
                </a:cubicBezTo>
                <a:cubicBezTo>
                  <a:pt x="6349" y="2050"/>
                  <a:pt x="6339" y="2658"/>
                  <a:pt x="6235" y="3263"/>
                </a:cubicBezTo>
                <a:cubicBezTo>
                  <a:pt x="6135" y="3847"/>
                  <a:pt x="5724" y="4438"/>
                  <a:pt x="4974" y="4531"/>
                </a:cubicBezTo>
                <a:cubicBezTo>
                  <a:pt x="4483" y="4590"/>
                  <a:pt x="3989" y="4631"/>
                  <a:pt x="3498" y="4683"/>
                </a:cubicBezTo>
                <a:cubicBezTo>
                  <a:pt x="3429" y="4690"/>
                  <a:pt x="3356" y="4707"/>
                  <a:pt x="3298" y="4745"/>
                </a:cubicBezTo>
                <a:cubicBezTo>
                  <a:pt x="3021" y="4921"/>
                  <a:pt x="2869" y="5125"/>
                  <a:pt x="2475" y="5284"/>
                </a:cubicBezTo>
                <a:cubicBezTo>
                  <a:pt x="2154" y="5423"/>
                  <a:pt x="1466" y="5575"/>
                  <a:pt x="1414" y="5561"/>
                </a:cubicBezTo>
                <a:cubicBezTo>
                  <a:pt x="1390" y="5523"/>
                  <a:pt x="1894" y="4963"/>
                  <a:pt x="1936" y="4628"/>
                </a:cubicBezTo>
                <a:cubicBezTo>
                  <a:pt x="1760" y="4600"/>
                  <a:pt x="1625" y="4579"/>
                  <a:pt x="1490" y="4559"/>
                </a:cubicBezTo>
                <a:cubicBezTo>
                  <a:pt x="719" y="4441"/>
                  <a:pt x="277" y="4013"/>
                  <a:pt x="118" y="3270"/>
                </a:cubicBezTo>
                <a:cubicBezTo>
                  <a:pt x="0" y="2665"/>
                  <a:pt x="35" y="2056"/>
                  <a:pt x="115" y="15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505050"/>
              </a:solidFill>
            </a:endParaRPr>
          </a:p>
        </p:txBody>
      </p:sp>
      <p:sp>
        <p:nvSpPr>
          <p:cNvPr id="30" name="Freeform 9"/>
          <p:cNvSpPr>
            <a:spLocks noChangeAspect="1"/>
          </p:cNvSpPr>
          <p:nvPr/>
        </p:nvSpPr>
        <p:spPr bwMode="auto">
          <a:xfrm>
            <a:off x="5523844" y="3215997"/>
            <a:ext cx="420217" cy="528413"/>
          </a:xfrm>
          <a:custGeom>
            <a:avLst/>
            <a:gdLst>
              <a:gd name="T0" fmla="*/ 5153 w 5153"/>
              <a:gd name="T1" fmla="*/ 2353 h 6483"/>
              <a:gd name="T2" fmla="*/ 2799 w 5153"/>
              <a:gd name="T3" fmla="*/ 0 h 6483"/>
              <a:gd name="T4" fmla="*/ 445 w 5153"/>
              <a:gd name="T5" fmla="*/ 2353 h 6483"/>
              <a:gd name="T6" fmla="*/ 1852 w 5153"/>
              <a:gd name="T7" fmla="*/ 4507 h 6483"/>
              <a:gd name="T8" fmla="*/ 1399 w 5153"/>
              <a:gd name="T9" fmla="*/ 4932 h 6483"/>
              <a:gd name="T10" fmla="*/ 214 w 5153"/>
              <a:gd name="T11" fmla="*/ 5457 h 6483"/>
              <a:gd name="T12" fmla="*/ 41 w 5153"/>
              <a:gd name="T13" fmla="*/ 5578 h 6483"/>
              <a:gd name="T14" fmla="*/ 0 w 5153"/>
              <a:gd name="T15" fmla="*/ 6245 h 6483"/>
              <a:gd name="T16" fmla="*/ 96 w 5153"/>
              <a:gd name="T17" fmla="*/ 6276 h 6483"/>
              <a:gd name="T18" fmla="*/ 3145 w 5153"/>
              <a:gd name="T19" fmla="*/ 5637 h 6483"/>
              <a:gd name="T20" fmla="*/ 5153 w 5153"/>
              <a:gd name="T21" fmla="*/ 2353 h 64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53" h="6483">
                <a:moveTo>
                  <a:pt x="5153" y="2353"/>
                </a:moveTo>
                <a:cubicBezTo>
                  <a:pt x="5153" y="1054"/>
                  <a:pt x="4098" y="0"/>
                  <a:pt x="2799" y="0"/>
                </a:cubicBezTo>
                <a:cubicBezTo>
                  <a:pt x="1500" y="0"/>
                  <a:pt x="445" y="1054"/>
                  <a:pt x="445" y="2353"/>
                </a:cubicBezTo>
                <a:cubicBezTo>
                  <a:pt x="445" y="3314"/>
                  <a:pt x="1023" y="4144"/>
                  <a:pt x="1852" y="4507"/>
                </a:cubicBezTo>
                <a:cubicBezTo>
                  <a:pt x="1776" y="4634"/>
                  <a:pt x="1586" y="4814"/>
                  <a:pt x="1399" y="4932"/>
                </a:cubicBezTo>
                <a:cubicBezTo>
                  <a:pt x="1036" y="5167"/>
                  <a:pt x="611" y="5284"/>
                  <a:pt x="214" y="5457"/>
                </a:cubicBezTo>
                <a:cubicBezTo>
                  <a:pt x="148" y="5485"/>
                  <a:pt x="45" y="5530"/>
                  <a:pt x="41" y="5578"/>
                </a:cubicBezTo>
                <a:cubicBezTo>
                  <a:pt x="13" y="5799"/>
                  <a:pt x="10" y="6027"/>
                  <a:pt x="0" y="6245"/>
                </a:cubicBezTo>
                <a:cubicBezTo>
                  <a:pt x="48" y="6262"/>
                  <a:pt x="72" y="6273"/>
                  <a:pt x="96" y="6276"/>
                </a:cubicBezTo>
                <a:cubicBezTo>
                  <a:pt x="1213" y="6483"/>
                  <a:pt x="2229" y="6221"/>
                  <a:pt x="3145" y="5637"/>
                </a:cubicBezTo>
                <a:cubicBezTo>
                  <a:pt x="4095" y="5032"/>
                  <a:pt x="5153" y="4043"/>
                  <a:pt x="5153" y="235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505050"/>
              </a:solidFill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5470775" y="4502919"/>
            <a:ext cx="526355" cy="526355"/>
          </a:xfrm>
          <a:custGeom>
            <a:avLst/>
            <a:gdLst>
              <a:gd name="T0" fmla="*/ 5986 w 5986"/>
              <a:gd name="T1" fmla="*/ 3594 h 5985"/>
              <a:gd name="T2" fmla="*/ 5986 w 5986"/>
              <a:gd name="T3" fmla="*/ 2395 h 5985"/>
              <a:gd name="T4" fmla="*/ 5402 w 5986"/>
              <a:gd name="T5" fmla="*/ 2395 h 5985"/>
              <a:gd name="T6" fmla="*/ 5122 w 5986"/>
              <a:gd name="T7" fmla="*/ 1717 h 5985"/>
              <a:gd name="T8" fmla="*/ 5533 w 5986"/>
              <a:gd name="T9" fmla="*/ 1330 h 5985"/>
              <a:gd name="T10" fmla="*/ 4666 w 5986"/>
              <a:gd name="T11" fmla="*/ 463 h 5985"/>
              <a:gd name="T12" fmla="*/ 4282 w 5986"/>
              <a:gd name="T13" fmla="*/ 870 h 5985"/>
              <a:gd name="T14" fmla="*/ 3591 w 5986"/>
              <a:gd name="T15" fmla="*/ 584 h 5985"/>
              <a:gd name="T16" fmla="*/ 3591 w 5986"/>
              <a:gd name="T17" fmla="*/ 0 h 5985"/>
              <a:gd name="T18" fmla="*/ 2392 w 5986"/>
              <a:gd name="T19" fmla="*/ 0 h 5985"/>
              <a:gd name="T20" fmla="*/ 2392 w 5986"/>
              <a:gd name="T21" fmla="*/ 587 h 5985"/>
              <a:gd name="T22" fmla="*/ 1711 w 5986"/>
              <a:gd name="T23" fmla="*/ 870 h 5985"/>
              <a:gd name="T24" fmla="*/ 1327 w 5986"/>
              <a:gd name="T25" fmla="*/ 456 h 5985"/>
              <a:gd name="T26" fmla="*/ 453 w 5986"/>
              <a:gd name="T27" fmla="*/ 1323 h 5985"/>
              <a:gd name="T28" fmla="*/ 868 w 5986"/>
              <a:gd name="T29" fmla="*/ 1710 h 5985"/>
              <a:gd name="T30" fmla="*/ 584 w 5986"/>
              <a:gd name="T31" fmla="*/ 2395 h 5985"/>
              <a:gd name="T32" fmla="*/ 0 w 5986"/>
              <a:gd name="T33" fmla="*/ 2395 h 5985"/>
              <a:gd name="T34" fmla="*/ 0 w 5986"/>
              <a:gd name="T35" fmla="*/ 3587 h 5985"/>
              <a:gd name="T36" fmla="*/ 584 w 5986"/>
              <a:gd name="T37" fmla="*/ 3587 h 5985"/>
              <a:gd name="T38" fmla="*/ 871 w 5986"/>
              <a:gd name="T39" fmla="*/ 4275 h 5985"/>
              <a:gd name="T40" fmla="*/ 442 w 5986"/>
              <a:gd name="T41" fmla="*/ 4651 h 5985"/>
              <a:gd name="T42" fmla="*/ 1320 w 5986"/>
              <a:gd name="T43" fmla="*/ 5529 h 5985"/>
              <a:gd name="T44" fmla="*/ 1711 w 5986"/>
              <a:gd name="T45" fmla="*/ 5114 h 5985"/>
              <a:gd name="T46" fmla="*/ 2392 w 5986"/>
              <a:gd name="T47" fmla="*/ 5398 h 5985"/>
              <a:gd name="T48" fmla="*/ 2392 w 5986"/>
              <a:gd name="T49" fmla="*/ 5985 h 5985"/>
              <a:gd name="T50" fmla="*/ 3584 w 5986"/>
              <a:gd name="T51" fmla="*/ 5985 h 5985"/>
              <a:gd name="T52" fmla="*/ 3584 w 5986"/>
              <a:gd name="T53" fmla="*/ 5401 h 5985"/>
              <a:gd name="T54" fmla="*/ 4279 w 5986"/>
              <a:gd name="T55" fmla="*/ 5114 h 5985"/>
              <a:gd name="T56" fmla="*/ 4662 w 5986"/>
              <a:gd name="T57" fmla="*/ 5533 h 5985"/>
              <a:gd name="T58" fmla="*/ 5523 w 5986"/>
              <a:gd name="T59" fmla="*/ 4669 h 5985"/>
              <a:gd name="T60" fmla="*/ 5112 w 5986"/>
              <a:gd name="T61" fmla="*/ 4285 h 5985"/>
              <a:gd name="T62" fmla="*/ 5402 w 5986"/>
              <a:gd name="T63" fmla="*/ 3594 h 5985"/>
              <a:gd name="T64" fmla="*/ 5986 w 5986"/>
              <a:gd name="T65" fmla="*/ 3594 h 5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6" h="5985">
                <a:moveTo>
                  <a:pt x="5986" y="3594"/>
                </a:moveTo>
                <a:cubicBezTo>
                  <a:pt x="5986" y="3193"/>
                  <a:pt x="5986" y="2795"/>
                  <a:pt x="5986" y="2395"/>
                </a:cubicBezTo>
                <a:cubicBezTo>
                  <a:pt x="5789" y="2395"/>
                  <a:pt x="5595" y="2395"/>
                  <a:pt x="5402" y="2395"/>
                </a:cubicBezTo>
                <a:cubicBezTo>
                  <a:pt x="5343" y="2153"/>
                  <a:pt x="5246" y="1925"/>
                  <a:pt x="5122" y="1717"/>
                </a:cubicBezTo>
                <a:cubicBezTo>
                  <a:pt x="5257" y="1589"/>
                  <a:pt x="5395" y="1458"/>
                  <a:pt x="5533" y="1330"/>
                </a:cubicBezTo>
                <a:cubicBezTo>
                  <a:pt x="5232" y="1029"/>
                  <a:pt x="4956" y="753"/>
                  <a:pt x="4666" y="463"/>
                </a:cubicBezTo>
                <a:cubicBezTo>
                  <a:pt x="4541" y="597"/>
                  <a:pt x="4410" y="736"/>
                  <a:pt x="4282" y="870"/>
                </a:cubicBezTo>
                <a:cubicBezTo>
                  <a:pt x="4071" y="743"/>
                  <a:pt x="3836" y="642"/>
                  <a:pt x="3591" y="584"/>
                </a:cubicBezTo>
                <a:cubicBezTo>
                  <a:pt x="3591" y="397"/>
                  <a:pt x="3591" y="197"/>
                  <a:pt x="3591" y="0"/>
                </a:cubicBezTo>
                <a:cubicBezTo>
                  <a:pt x="3190" y="0"/>
                  <a:pt x="2793" y="0"/>
                  <a:pt x="2392" y="0"/>
                </a:cubicBezTo>
                <a:cubicBezTo>
                  <a:pt x="2392" y="197"/>
                  <a:pt x="2392" y="390"/>
                  <a:pt x="2392" y="587"/>
                </a:cubicBezTo>
                <a:cubicBezTo>
                  <a:pt x="2150" y="649"/>
                  <a:pt x="1918" y="746"/>
                  <a:pt x="1711" y="870"/>
                </a:cubicBezTo>
                <a:cubicBezTo>
                  <a:pt x="1586" y="736"/>
                  <a:pt x="1452" y="594"/>
                  <a:pt x="1327" y="456"/>
                </a:cubicBezTo>
                <a:cubicBezTo>
                  <a:pt x="1023" y="753"/>
                  <a:pt x="747" y="1029"/>
                  <a:pt x="453" y="1323"/>
                </a:cubicBezTo>
                <a:cubicBezTo>
                  <a:pt x="588" y="1451"/>
                  <a:pt x="729" y="1582"/>
                  <a:pt x="868" y="1710"/>
                </a:cubicBezTo>
                <a:cubicBezTo>
                  <a:pt x="740" y="1921"/>
                  <a:pt x="646" y="2149"/>
                  <a:pt x="584" y="2395"/>
                </a:cubicBezTo>
                <a:cubicBezTo>
                  <a:pt x="398" y="2395"/>
                  <a:pt x="201" y="2395"/>
                  <a:pt x="0" y="2395"/>
                </a:cubicBezTo>
                <a:cubicBezTo>
                  <a:pt x="0" y="2795"/>
                  <a:pt x="0" y="3183"/>
                  <a:pt x="0" y="3587"/>
                </a:cubicBezTo>
                <a:cubicBezTo>
                  <a:pt x="197" y="3587"/>
                  <a:pt x="391" y="3587"/>
                  <a:pt x="584" y="3587"/>
                </a:cubicBezTo>
                <a:cubicBezTo>
                  <a:pt x="646" y="3832"/>
                  <a:pt x="743" y="4064"/>
                  <a:pt x="871" y="4275"/>
                </a:cubicBezTo>
                <a:cubicBezTo>
                  <a:pt x="733" y="4396"/>
                  <a:pt x="584" y="4527"/>
                  <a:pt x="442" y="4651"/>
                </a:cubicBezTo>
                <a:cubicBezTo>
                  <a:pt x="750" y="4959"/>
                  <a:pt x="1027" y="5235"/>
                  <a:pt x="1320" y="5529"/>
                </a:cubicBezTo>
                <a:cubicBezTo>
                  <a:pt x="1448" y="5391"/>
                  <a:pt x="1583" y="5249"/>
                  <a:pt x="1711" y="5114"/>
                </a:cubicBezTo>
                <a:cubicBezTo>
                  <a:pt x="1918" y="5242"/>
                  <a:pt x="2150" y="5336"/>
                  <a:pt x="2392" y="5398"/>
                </a:cubicBezTo>
                <a:cubicBezTo>
                  <a:pt x="2392" y="5584"/>
                  <a:pt x="2392" y="5781"/>
                  <a:pt x="2392" y="5985"/>
                </a:cubicBezTo>
                <a:cubicBezTo>
                  <a:pt x="2793" y="5985"/>
                  <a:pt x="3180" y="5985"/>
                  <a:pt x="3584" y="5985"/>
                </a:cubicBezTo>
                <a:cubicBezTo>
                  <a:pt x="3584" y="5788"/>
                  <a:pt x="3584" y="5591"/>
                  <a:pt x="3584" y="5401"/>
                </a:cubicBezTo>
                <a:cubicBezTo>
                  <a:pt x="3833" y="5343"/>
                  <a:pt x="4064" y="5242"/>
                  <a:pt x="4279" y="5114"/>
                </a:cubicBezTo>
                <a:cubicBezTo>
                  <a:pt x="4403" y="5253"/>
                  <a:pt x="4534" y="5394"/>
                  <a:pt x="4662" y="5533"/>
                </a:cubicBezTo>
                <a:cubicBezTo>
                  <a:pt x="4956" y="5239"/>
                  <a:pt x="5232" y="4959"/>
                  <a:pt x="5523" y="4669"/>
                </a:cubicBezTo>
                <a:cubicBezTo>
                  <a:pt x="5388" y="4541"/>
                  <a:pt x="5246" y="4409"/>
                  <a:pt x="5112" y="4285"/>
                </a:cubicBezTo>
                <a:cubicBezTo>
                  <a:pt x="5239" y="4074"/>
                  <a:pt x="5340" y="3843"/>
                  <a:pt x="5402" y="3594"/>
                </a:cubicBezTo>
                <a:cubicBezTo>
                  <a:pt x="5588" y="3594"/>
                  <a:pt x="5785" y="3594"/>
                  <a:pt x="5986" y="35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505050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5470775" y="5700989"/>
            <a:ext cx="537500" cy="528413"/>
            <a:chOff x="10832823" y="3353836"/>
            <a:chExt cx="537576" cy="528488"/>
          </a:xfrm>
        </p:grpSpPr>
        <p:sp>
          <p:nvSpPr>
            <p:cNvPr id="33" name="Oval 13"/>
            <p:cNvSpPr>
              <a:spLocks noChangeArrowheads="1"/>
            </p:cNvSpPr>
            <p:nvPr/>
          </p:nvSpPr>
          <p:spPr bwMode="auto">
            <a:xfrm>
              <a:off x="10943701" y="3353836"/>
              <a:ext cx="426698" cy="42669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505050"/>
                </a:solidFill>
              </a:endParaRPr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auto">
            <a:xfrm>
              <a:off x="10832823" y="3702829"/>
              <a:ext cx="179495" cy="179495"/>
            </a:xfrm>
            <a:custGeom>
              <a:avLst/>
              <a:gdLst>
                <a:gd name="T0" fmla="*/ 1224 w 1980"/>
                <a:gd name="T1" fmla="*/ 0 h 1977"/>
                <a:gd name="T2" fmla="*/ 218 w 1980"/>
                <a:gd name="T3" fmla="*/ 985 h 1977"/>
                <a:gd name="T4" fmla="*/ 211 w 1980"/>
                <a:gd name="T5" fmla="*/ 1752 h 1977"/>
                <a:gd name="T6" fmla="*/ 218 w 1980"/>
                <a:gd name="T7" fmla="*/ 1759 h 1977"/>
                <a:gd name="T8" fmla="*/ 985 w 1980"/>
                <a:gd name="T9" fmla="*/ 1766 h 1977"/>
                <a:gd name="T10" fmla="*/ 1980 w 1980"/>
                <a:gd name="T11" fmla="*/ 788 h 1977"/>
                <a:gd name="T12" fmla="*/ 1224 w 1980"/>
                <a:gd name="T13" fmla="*/ 0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80" h="1977">
                  <a:moveTo>
                    <a:pt x="1224" y="0"/>
                  </a:moveTo>
                  <a:cubicBezTo>
                    <a:pt x="218" y="985"/>
                    <a:pt x="218" y="985"/>
                    <a:pt x="218" y="985"/>
                  </a:cubicBezTo>
                  <a:cubicBezTo>
                    <a:pt x="4" y="1196"/>
                    <a:pt x="0" y="1538"/>
                    <a:pt x="211" y="1752"/>
                  </a:cubicBezTo>
                  <a:cubicBezTo>
                    <a:pt x="218" y="1759"/>
                    <a:pt x="218" y="1759"/>
                    <a:pt x="218" y="1759"/>
                  </a:cubicBezTo>
                  <a:cubicBezTo>
                    <a:pt x="429" y="1974"/>
                    <a:pt x="771" y="1977"/>
                    <a:pt x="985" y="1766"/>
                  </a:cubicBezTo>
                  <a:cubicBezTo>
                    <a:pt x="1980" y="788"/>
                    <a:pt x="1980" y="788"/>
                    <a:pt x="1980" y="788"/>
                  </a:cubicBezTo>
                  <a:cubicBezTo>
                    <a:pt x="1683" y="581"/>
                    <a:pt x="1424" y="315"/>
                    <a:pt x="122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505050"/>
                </a:solidFill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1294EE5A-FCD1-4E05-B14C-1F0CEAE3E8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467" y="332096"/>
            <a:ext cx="2733675" cy="232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3717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53A7421-6E88-4164-8A25-628D664D3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12" y="304358"/>
            <a:ext cx="11653523" cy="932563"/>
          </a:xfrm>
        </p:spPr>
        <p:txBody>
          <a:bodyPr/>
          <a:lstStyle/>
          <a:p>
            <a:r>
              <a:rPr lang="en-US" sz="5400" dirty="0">
                <a:solidFill>
                  <a:schemeClr val="tx1"/>
                </a:solidFill>
              </a:rPr>
              <a:t>Agenda</a:t>
            </a:r>
            <a:endParaRPr lang="en-US" sz="5400" i="1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449F6D-17CA-49B0-B297-FBA672F0AE9A}"/>
              </a:ext>
            </a:extLst>
          </p:cNvPr>
          <p:cNvSpPr txBox="1"/>
          <p:nvPr/>
        </p:nvSpPr>
        <p:spPr>
          <a:xfrm>
            <a:off x="527957" y="1442357"/>
            <a:ext cx="10118272" cy="308392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Databricks at high level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park </a:t>
            </a:r>
            <a:r>
              <a: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llib</a:t>
            </a: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2.x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rializing a Model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odel Scoring – Requirements to Architectures (Best Practices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Databricks Model Scoring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550735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Freeform 4"/>
          <p:cNvSpPr>
            <a:spLocks noChangeArrowheads="1"/>
          </p:cNvSpPr>
          <p:nvPr/>
        </p:nvSpPr>
        <p:spPr bwMode="auto">
          <a:xfrm>
            <a:off x="2740512" y="1355931"/>
            <a:ext cx="6559026" cy="45606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78" name="Freeform 4"/>
          <p:cNvSpPr>
            <a:spLocks noChangeArrowheads="1"/>
          </p:cNvSpPr>
          <p:nvPr/>
        </p:nvSpPr>
        <p:spPr bwMode="auto">
          <a:xfrm>
            <a:off x="2837398" y="4583044"/>
            <a:ext cx="6350000" cy="1214672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640" name="Group 639"/>
          <p:cNvGrpSpPr/>
          <p:nvPr/>
        </p:nvGrpSpPr>
        <p:grpSpPr>
          <a:xfrm>
            <a:off x="3571135" y="4969331"/>
            <a:ext cx="411025" cy="476588"/>
            <a:chOff x="1271588" y="5613400"/>
            <a:chExt cx="517525" cy="600076"/>
          </a:xfrm>
          <a:solidFill>
            <a:schemeClr val="accent1"/>
          </a:solidFill>
        </p:grpSpPr>
        <p:sp>
          <p:nvSpPr>
            <p:cNvPr id="641" name="Freeform 83"/>
            <p:cNvSpPr>
              <a:spLocks noChangeArrowheads="1"/>
            </p:cNvSpPr>
            <p:nvPr/>
          </p:nvSpPr>
          <p:spPr bwMode="auto">
            <a:xfrm>
              <a:off x="1368425" y="5705476"/>
              <a:ext cx="420688" cy="508000"/>
            </a:xfrm>
            <a:custGeom>
              <a:avLst/>
              <a:gdLst>
                <a:gd name="T0" fmla="*/ 934 w 1168"/>
                <a:gd name="T1" fmla="*/ 687 h 1410"/>
                <a:gd name="T2" fmla="*/ 760 w 1168"/>
                <a:gd name="T3" fmla="*/ 687 h 1410"/>
                <a:gd name="T4" fmla="*/ 585 w 1168"/>
                <a:gd name="T5" fmla="*/ 529 h 1410"/>
                <a:gd name="T6" fmla="*/ 416 w 1168"/>
                <a:gd name="T7" fmla="*/ 687 h 1410"/>
                <a:gd name="T8" fmla="*/ 234 w 1168"/>
                <a:gd name="T9" fmla="*/ 687 h 1410"/>
                <a:gd name="T10" fmla="*/ 46 w 1168"/>
                <a:gd name="T11" fmla="*/ 462 h 1410"/>
                <a:gd name="T12" fmla="*/ 234 w 1168"/>
                <a:gd name="T13" fmla="*/ 238 h 1410"/>
                <a:gd name="T14" fmla="*/ 552 w 1168"/>
                <a:gd name="T15" fmla="*/ 238 h 1410"/>
                <a:gd name="T16" fmla="*/ 552 w 1168"/>
                <a:gd name="T17" fmla="*/ 422 h 1410"/>
                <a:gd name="T18" fmla="*/ 1147 w 1168"/>
                <a:gd name="T19" fmla="*/ 422 h 1410"/>
                <a:gd name="T20" fmla="*/ 1147 w 1168"/>
                <a:gd name="T21" fmla="*/ 0 h 1410"/>
                <a:gd name="T22" fmla="*/ 552 w 1168"/>
                <a:gd name="T23" fmla="*/ 0 h 1410"/>
                <a:gd name="T24" fmla="*/ 552 w 1168"/>
                <a:gd name="T25" fmla="*/ 192 h 1410"/>
                <a:gd name="T26" fmla="*/ 234 w 1168"/>
                <a:gd name="T27" fmla="*/ 192 h 1410"/>
                <a:gd name="T28" fmla="*/ 0 w 1168"/>
                <a:gd name="T29" fmla="*/ 459 h 1410"/>
                <a:gd name="T30" fmla="*/ 234 w 1168"/>
                <a:gd name="T31" fmla="*/ 728 h 1410"/>
                <a:gd name="T32" fmla="*/ 420 w 1168"/>
                <a:gd name="T33" fmla="*/ 728 h 1410"/>
                <a:gd name="T34" fmla="*/ 593 w 1168"/>
                <a:gd name="T35" fmla="*/ 873 h 1410"/>
                <a:gd name="T36" fmla="*/ 760 w 1168"/>
                <a:gd name="T37" fmla="*/ 728 h 1410"/>
                <a:gd name="T38" fmla="*/ 934 w 1168"/>
                <a:gd name="T39" fmla="*/ 728 h 1410"/>
                <a:gd name="T40" fmla="*/ 1121 w 1168"/>
                <a:gd name="T41" fmla="*/ 954 h 1410"/>
                <a:gd name="T42" fmla="*/ 1121 w 1168"/>
                <a:gd name="T43" fmla="*/ 962 h 1410"/>
                <a:gd name="T44" fmla="*/ 934 w 1168"/>
                <a:gd name="T45" fmla="*/ 1186 h 1410"/>
                <a:gd name="T46" fmla="*/ 615 w 1168"/>
                <a:gd name="T47" fmla="*/ 1186 h 1410"/>
                <a:gd name="T48" fmla="*/ 615 w 1168"/>
                <a:gd name="T49" fmla="*/ 997 h 1410"/>
                <a:gd name="T50" fmla="*/ 22 w 1168"/>
                <a:gd name="T51" fmla="*/ 997 h 1410"/>
                <a:gd name="T52" fmla="*/ 22 w 1168"/>
                <a:gd name="T53" fmla="*/ 1409 h 1410"/>
                <a:gd name="T54" fmla="*/ 615 w 1168"/>
                <a:gd name="T55" fmla="*/ 1409 h 1410"/>
                <a:gd name="T56" fmla="*/ 615 w 1168"/>
                <a:gd name="T57" fmla="*/ 1236 h 1410"/>
                <a:gd name="T58" fmla="*/ 934 w 1168"/>
                <a:gd name="T59" fmla="*/ 1236 h 1410"/>
                <a:gd name="T60" fmla="*/ 1167 w 1168"/>
                <a:gd name="T61" fmla="*/ 967 h 1410"/>
                <a:gd name="T62" fmla="*/ 1167 w 1168"/>
                <a:gd name="T63" fmla="*/ 960 h 1410"/>
                <a:gd name="T64" fmla="*/ 934 w 1168"/>
                <a:gd name="T65" fmla="*/ 687 h 1410"/>
                <a:gd name="T66" fmla="*/ 1103 w 1168"/>
                <a:gd name="T67" fmla="*/ 376 h 1410"/>
                <a:gd name="T68" fmla="*/ 1026 w 1168"/>
                <a:gd name="T69" fmla="*/ 376 h 1410"/>
                <a:gd name="T70" fmla="*/ 1026 w 1168"/>
                <a:gd name="T71" fmla="*/ 46 h 1410"/>
                <a:gd name="T72" fmla="*/ 1103 w 1168"/>
                <a:gd name="T73" fmla="*/ 46 h 1410"/>
                <a:gd name="T74" fmla="*/ 1103 w 1168"/>
                <a:gd name="T75" fmla="*/ 376 h 1410"/>
                <a:gd name="T76" fmla="*/ 980 w 1168"/>
                <a:gd name="T77" fmla="*/ 44 h 1410"/>
                <a:gd name="T78" fmla="*/ 980 w 1168"/>
                <a:gd name="T79" fmla="*/ 376 h 1410"/>
                <a:gd name="T80" fmla="*/ 596 w 1168"/>
                <a:gd name="T81" fmla="*/ 376 h 1410"/>
                <a:gd name="T82" fmla="*/ 596 w 1168"/>
                <a:gd name="T83" fmla="*/ 44 h 1410"/>
                <a:gd name="T84" fmla="*/ 980 w 1168"/>
                <a:gd name="T85" fmla="*/ 44 h 1410"/>
                <a:gd name="T86" fmla="*/ 574 w 1168"/>
                <a:gd name="T87" fmla="*/ 798 h 1410"/>
                <a:gd name="T88" fmla="*/ 510 w 1168"/>
                <a:gd name="T89" fmla="*/ 746 h 1410"/>
                <a:gd name="T90" fmla="*/ 538 w 1168"/>
                <a:gd name="T91" fmla="*/ 711 h 1410"/>
                <a:gd name="T92" fmla="*/ 569 w 1168"/>
                <a:gd name="T93" fmla="*/ 737 h 1410"/>
                <a:gd name="T94" fmla="*/ 644 w 1168"/>
                <a:gd name="T95" fmla="*/ 643 h 1410"/>
                <a:gd name="T96" fmla="*/ 679 w 1168"/>
                <a:gd name="T97" fmla="*/ 669 h 1410"/>
                <a:gd name="T98" fmla="*/ 574 w 1168"/>
                <a:gd name="T99" fmla="*/ 798 h 1410"/>
                <a:gd name="T100" fmla="*/ 68 w 1168"/>
                <a:gd name="T101" fmla="*/ 1045 h 1410"/>
                <a:gd name="T102" fmla="*/ 145 w 1168"/>
                <a:gd name="T103" fmla="*/ 1045 h 1410"/>
                <a:gd name="T104" fmla="*/ 145 w 1168"/>
                <a:gd name="T105" fmla="*/ 1372 h 1410"/>
                <a:gd name="T106" fmla="*/ 68 w 1168"/>
                <a:gd name="T107" fmla="*/ 1372 h 1410"/>
                <a:gd name="T108" fmla="*/ 68 w 1168"/>
                <a:gd name="T109" fmla="*/ 1045 h 1410"/>
                <a:gd name="T110" fmla="*/ 573 w 1168"/>
                <a:gd name="T111" fmla="*/ 1372 h 1410"/>
                <a:gd name="T112" fmla="*/ 188 w 1168"/>
                <a:gd name="T113" fmla="*/ 1372 h 1410"/>
                <a:gd name="T114" fmla="*/ 188 w 1168"/>
                <a:gd name="T115" fmla="*/ 1045 h 1410"/>
                <a:gd name="T116" fmla="*/ 573 w 1168"/>
                <a:gd name="T117" fmla="*/ 1045 h 1410"/>
                <a:gd name="T118" fmla="*/ 573 w 1168"/>
                <a:gd name="T119" fmla="*/ 1372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8" h="1410">
                  <a:moveTo>
                    <a:pt x="934" y="687"/>
                  </a:moveTo>
                  <a:lnTo>
                    <a:pt x="760" y="687"/>
                  </a:lnTo>
                  <a:cubicBezTo>
                    <a:pt x="751" y="599"/>
                    <a:pt x="676" y="529"/>
                    <a:pt x="585" y="529"/>
                  </a:cubicBezTo>
                  <a:cubicBezTo>
                    <a:pt x="497" y="532"/>
                    <a:pt x="423" y="599"/>
                    <a:pt x="416" y="687"/>
                  </a:cubicBezTo>
                  <a:lnTo>
                    <a:pt x="234" y="687"/>
                  </a:lnTo>
                  <a:cubicBezTo>
                    <a:pt x="129" y="687"/>
                    <a:pt x="46" y="586"/>
                    <a:pt x="46" y="462"/>
                  </a:cubicBezTo>
                  <a:cubicBezTo>
                    <a:pt x="46" y="339"/>
                    <a:pt x="132" y="238"/>
                    <a:pt x="234" y="238"/>
                  </a:cubicBezTo>
                  <a:lnTo>
                    <a:pt x="552" y="238"/>
                  </a:lnTo>
                  <a:lnTo>
                    <a:pt x="552" y="422"/>
                  </a:lnTo>
                  <a:lnTo>
                    <a:pt x="1147" y="422"/>
                  </a:lnTo>
                  <a:lnTo>
                    <a:pt x="1147" y="0"/>
                  </a:lnTo>
                  <a:lnTo>
                    <a:pt x="552" y="0"/>
                  </a:lnTo>
                  <a:lnTo>
                    <a:pt x="552" y="192"/>
                  </a:lnTo>
                  <a:lnTo>
                    <a:pt x="234" y="192"/>
                  </a:lnTo>
                  <a:cubicBezTo>
                    <a:pt x="105" y="192"/>
                    <a:pt x="0" y="311"/>
                    <a:pt x="0" y="459"/>
                  </a:cubicBezTo>
                  <a:cubicBezTo>
                    <a:pt x="0" y="607"/>
                    <a:pt x="105" y="728"/>
                    <a:pt x="234" y="728"/>
                  </a:cubicBezTo>
                  <a:lnTo>
                    <a:pt x="420" y="728"/>
                  </a:lnTo>
                  <a:cubicBezTo>
                    <a:pt x="433" y="811"/>
                    <a:pt x="504" y="875"/>
                    <a:pt x="593" y="873"/>
                  </a:cubicBezTo>
                  <a:cubicBezTo>
                    <a:pt x="679" y="870"/>
                    <a:pt x="746" y="809"/>
                    <a:pt x="760" y="728"/>
                  </a:cubicBezTo>
                  <a:lnTo>
                    <a:pt x="934" y="728"/>
                  </a:lnTo>
                  <a:cubicBezTo>
                    <a:pt x="1039" y="728"/>
                    <a:pt x="1121" y="831"/>
                    <a:pt x="1121" y="954"/>
                  </a:cubicBezTo>
                  <a:lnTo>
                    <a:pt x="1121" y="962"/>
                  </a:lnTo>
                  <a:cubicBezTo>
                    <a:pt x="1121" y="1085"/>
                    <a:pt x="1037" y="1186"/>
                    <a:pt x="934" y="1186"/>
                  </a:cubicBezTo>
                  <a:lnTo>
                    <a:pt x="615" y="1186"/>
                  </a:lnTo>
                  <a:lnTo>
                    <a:pt x="615" y="997"/>
                  </a:lnTo>
                  <a:lnTo>
                    <a:pt x="22" y="997"/>
                  </a:lnTo>
                  <a:lnTo>
                    <a:pt x="22" y="1409"/>
                  </a:lnTo>
                  <a:lnTo>
                    <a:pt x="615" y="1409"/>
                  </a:lnTo>
                  <a:lnTo>
                    <a:pt x="615" y="1236"/>
                  </a:lnTo>
                  <a:lnTo>
                    <a:pt x="934" y="1236"/>
                  </a:lnTo>
                  <a:cubicBezTo>
                    <a:pt x="1062" y="1236"/>
                    <a:pt x="1167" y="1115"/>
                    <a:pt x="1167" y="967"/>
                  </a:cubicBezTo>
                  <a:lnTo>
                    <a:pt x="1167" y="960"/>
                  </a:lnTo>
                  <a:cubicBezTo>
                    <a:pt x="1167" y="809"/>
                    <a:pt x="1062" y="687"/>
                    <a:pt x="934" y="687"/>
                  </a:cubicBezTo>
                  <a:close/>
                  <a:moveTo>
                    <a:pt x="1103" y="376"/>
                  </a:moveTo>
                  <a:lnTo>
                    <a:pt x="1026" y="376"/>
                  </a:lnTo>
                  <a:lnTo>
                    <a:pt x="1026" y="46"/>
                  </a:lnTo>
                  <a:lnTo>
                    <a:pt x="1103" y="46"/>
                  </a:lnTo>
                  <a:lnTo>
                    <a:pt x="1103" y="376"/>
                  </a:lnTo>
                  <a:close/>
                  <a:moveTo>
                    <a:pt x="980" y="44"/>
                  </a:moveTo>
                  <a:lnTo>
                    <a:pt x="980" y="376"/>
                  </a:lnTo>
                  <a:lnTo>
                    <a:pt x="596" y="376"/>
                  </a:lnTo>
                  <a:lnTo>
                    <a:pt x="596" y="44"/>
                  </a:lnTo>
                  <a:lnTo>
                    <a:pt x="980" y="44"/>
                  </a:lnTo>
                  <a:close/>
                  <a:moveTo>
                    <a:pt x="574" y="798"/>
                  </a:moveTo>
                  <a:lnTo>
                    <a:pt x="510" y="746"/>
                  </a:lnTo>
                  <a:lnTo>
                    <a:pt x="538" y="711"/>
                  </a:lnTo>
                  <a:lnTo>
                    <a:pt x="569" y="737"/>
                  </a:lnTo>
                  <a:lnTo>
                    <a:pt x="644" y="643"/>
                  </a:lnTo>
                  <a:lnTo>
                    <a:pt x="679" y="669"/>
                  </a:lnTo>
                  <a:lnTo>
                    <a:pt x="574" y="798"/>
                  </a:lnTo>
                  <a:close/>
                  <a:moveTo>
                    <a:pt x="68" y="1045"/>
                  </a:moveTo>
                  <a:lnTo>
                    <a:pt x="145" y="1045"/>
                  </a:lnTo>
                  <a:lnTo>
                    <a:pt x="145" y="1372"/>
                  </a:lnTo>
                  <a:lnTo>
                    <a:pt x="68" y="1372"/>
                  </a:lnTo>
                  <a:lnTo>
                    <a:pt x="68" y="1045"/>
                  </a:lnTo>
                  <a:close/>
                  <a:moveTo>
                    <a:pt x="573" y="1372"/>
                  </a:moveTo>
                  <a:lnTo>
                    <a:pt x="188" y="1372"/>
                  </a:lnTo>
                  <a:lnTo>
                    <a:pt x="188" y="1045"/>
                  </a:lnTo>
                  <a:lnTo>
                    <a:pt x="573" y="1045"/>
                  </a:lnTo>
                  <a:lnTo>
                    <a:pt x="573" y="137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42" name="Freeform 84"/>
            <p:cNvSpPr>
              <a:spLocks noChangeArrowheads="1"/>
            </p:cNvSpPr>
            <p:nvPr/>
          </p:nvSpPr>
          <p:spPr bwMode="auto">
            <a:xfrm>
              <a:off x="1271588" y="5715000"/>
              <a:ext cx="50800" cy="50800"/>
            </a:xfrm>
            <a:custGeom>
              <a:avLst/>
              <a:gdLst>
                <a:gd name="T0" fmla="*/ 70 w 143"/>
                <a:gd name="T1" fmla="*/ 0 h 143"/>
                <a:gd name="T2" fmla="*/ 0 w 143"/>
                <a:gd name="T3" fmla="*/ 72 h 143"/>
                <a:gd name="T4" fmla="*/ 70 w 143"/>
                <a:gd name="T5" fmla="*/ 142 h 143"/>
                <a:gd name="T6" fmla="*/ 70 w 143"/>
                <a:gd name="T7" fmla="*/ 142 h 143"/>
                <a:gd name="T8" fmla="*/ 70 w 143"/>
                <a:gd name="T9" fmla="*/ 142 h 143"/>
                <a:gd name="T10" fmla="*/ 140 w 143"/>
                <a:gd name="T11" fmla="*/ 70 h 143"/>
                <a:gd name="T12" fmla="*/ 70 w 143"/>
                <a:gd name="T13" fmla="*/ 0 h 143"/>
                <a:gd name="T14" fmla="*/ 72 w 143"/>
                <a:gd name="T15" fmla="*/ 99 h 143"/>
                <a:gd name="T16" fmla="*/ 72 w 143"/>
                <a:gd name="T17" fmla="*/ 99 h 143"/>
                <a:gd name="T18" fmla="*/ 43 w 143"/>
                <a:gd name="T19" fmla="*/ 72 h 143"/>
                <a:gd name="T20" fmla="*/ 70 w 143"/>
                <a:gd name="T21" fmla="*/ 42 h 143"/>
                <a:gd name="T22" fmla="*/ 70 w 143"/>
                <a:gd name="T23" fmla="*/ 42 h 143"/>
                <a:gd name="T24" fmla="*/ 96 w 143"/>
                <a:gd name="T25" fmla="*/ 70 h 143"/>
                <a:gd name="T26" fmla="*/ 72 w 143"/>
                <a:gd name="T27" fmla="*/ 99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143">
                  <a:moveTo>
                    <a:pt x="70" y="0"/>
                  </a:moveTo>
                  <a:cubicBezTo>
                    <a:pt x="30" y="0"/>
                    <a:pt x="0" y="31"/>
                    <a:pt x="0" y="72"/>
                  </a:cubicBezTo>
                  <a:cubicBezTo>
                    <a:pt x="0" y="110"/>
                    <a:pt x="32" y="142"/>
                    <a:pt x="70" y="142"/>
                  </a:cubicBezTo>
                  <a:lnTo>
                    <a:pt x="70" y="142"/>
                  </a:lnTo>
                  <a:lnTo>
                    <a:pt x="70" y="142"/>
                  </a:lnTo>
                  <a:cubicBezTo>
                    <a:pt x="111" y="142"/>
                    <a:pt x="140" y="110"/>
                    <a:pt x="140" y="70"/>
                  </a:cubicBezTo>
                  <a:cubicBezTo>
                    <a:pt x="142" y="31"/>
                    <a:pt x="111" y="0"/>
                    <a:pt x="70" y="0"/>
                  </a:cubicBezTo>
                  <a:close/>
                  <a:moveTo>
                    <a:pt x="72" y="99"/>
                  </a:moveTo>
                  <a:lnTo>
                    <a:pt x="72" y="99"/>
                  </a:lnTo>
                  <a:cubicBezTo>
                    <a:pt x="56" y="99"/>
                    <a:pt x="47" y="85"/>
                    <a:pt x="43" y="72"/>
                  </a:cubicBezTo>
                  <a:cubicBezTo>
                    <a:pt x="43" y="55"/>
                    <a:pt x="54" y="46"/>
                    <a:pt x="70" y="42"/>
                  </a:cubicBezTo>
                  <a:lnTo>
                    <a:pt x="70" y="42"/>
                  </a:lnTo>
                  <a:cubicBezTo>
                    <a:pt x="87" y="42"/>
                    <a:pt x="96" y="55"/>
                    <a:pt x="96" y="70"/>
                  </a:cubicBezTo>
                  <a:cubicBezTo>
                    <a:pt x="100" y="85"/>
                    <a:pt x="89" y="99"/>
                    <a:pt x="72" y="9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43" name="Freeform 85"/>
            <p:cNvSpPr>
              <a:spLocks noChangeArrowheads="1"/>
            </p:cNvSpPr>
            <p:nvPr/>
          </p:nvSpPr>
          <p:spPr bwMode="auto">
            <a:xfrm>
              <a:off x="1363663" y="5613400"/>
              <a:ext cx="69850" cy="68263"/>
            </a:xfrm>
            <a:custGeom>
              <a:avLst/>
              <a:gdLst>
                <a:gd name="T0" fmla="*/ 70 w 192"/>
                <a:gd name="T1" fmla="*/ 190 h 191"/>
                <a:gd name="T2" fmla="*/ 79 w 192"/>
                <a:gd name="T3" fmla="*/ 190 h 191"/>
                <a:gd name="T4" fmla="*/ 114 w 192"/>
                <a:gd name="T5" fmla="*/ 190 h 191"/>
                <a:gd name="T6" fmla="*/ 121 w 192"/>
                <a:gd name="T7" fmla="*/ 190 h 191"/>
                <a:gd name="T8" fmla="*/ 191 w 192"/>
                <a:gd name="T9" fmla="*/ 120 h 191"/>
                <a:gd name="T10" fmla="*/ 191 w 192"/>
                <a:gd name="T11" fmla="*/ 112 h 191"/>
                <a:gd name="T12" fmla="*/ 191 w 192"/>
                <a:gd name="T13" fmla="*/ 77 h 191"/>
                <a:gd name="T14" fmla="*/ 191 w 192"/>
                <a:gd name="T15" fmla="*/ 70 h 191"/>
                <a:gd name="T16" fmla="*/ 121 w 192"/>
                <a:gd name="T17" fmla="*/ 0 h 191"/>
                <a:gd name="T18" fmla="*/ 114 w 192"/>
                <a:gd name="T19" fmla="*/ 0 h 191"/>
                <a:gd name="T20" fmla="*/ 79 w 192"/>
                <a:gd name="T21" fmla="*/ 0 h 191"/>
                <a:gd name="T22" fmla="*/ 70 w 192"/>
                <a:gd name="T23" fmla="*/ 0 h 191"/>
                <a:gd name="T24" fmla="*/ 0 w 192"/>
                <a:gd name="T25" fmla="*/ 70 h 191"/>
                <a:gd name="T26" fmla="*/ 0 w 192"/>
                <a:gd name="T27" fmla="*/ 77 h 191"/>
                <a:gd name="T28" fmla="*/ 0 w 192"/>
                <a:gd name="T29" fmla="*/ 112 h 191"/>
                <a:gd name="T30" fmla="*/ 0 w 192"/>
                <a:gd name="T31" fmla="*/ 120 h 191"/>
                <a:gd name="T32" fmla="*/ 70 w 192"/>
                <a:gd name="T33" fmla="*/ 190 h 191"/>
                <a:gd name="T34" fmla="*/ 97 w 192"/>
                <a:gd name="T35" fmla="*/ 59 h 191"/>
                <a:gd name="T36" fmla="*/ 132 w 192"/>
                <a:gd name="T37" fmla="*/ 94 h 191"/>
                <a:gd name="T38" fmla="*/ 97 w 192"/>
                <a:gd name="T39" fmla="*/ 129 h 191"/>
                <a:gd name="T40" fmla="*/ 62 w 192"/>
                <a:gd name="T41" fmla="*/ 94 h 191"/>
                <a:gd name="T42" fmla="*/ 97 w 192"/>
                <a:gd name="T43" fmla="*/ 5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2" h="191">
                  <a:moveTo>
                    <a:pt x="70" y="190"/>
                  </a:moveTo>
                  <a:lnTo>
                    <a:pt x="79" y="190"/>
                  </a:lnTo>
                  <a:lnTo>
                    <a:pt x="114" y="190"/>
                  </a:lnTo>
                  <a:lnTo>
                    <a:pt x="121" y="190"/>
                  </a:lnTo>
                  <a:cubicBezTo>
                    <a:pt x="121" y="153"/>
                    <a:pt x="153" y="120"/>
                    <a:pt x="191" y="120"/>
                  </a:cubicBezTo>
                  <a:lnTo>
                    <a:pt x="191" y="112"/>
                  </a:lnTo>
                  <a:lnTo>
                    <a:pt x="191" y="77"/>
                  </a:lnTo>
                  <a:lnTo>
                    <a:pt x="191" y="70"/>
                  </a:lnTo>
                  <a:cubicBezTo>
                    <a:pt x="153" y="70"/>
                    <a:pt x="121" y="37"/>
                    <a:pt x="121" y="0"/>
                  </a:cubicBezTo>
                  <a:lnTo>
                    <a:pt x="114" y="0"/>
                  </a:lnTo>
                  <a:lnTo>
                    <a:pt x="79" y="0"/>
                  </a:lnTo>
                  <a:lnTo>
                    <a:pt x="70" y="0"/>
                  </a:lnTo>
                  <a:cubicBezTo>
                    <a:pt x="70" y="37"/>
                    <a:pt x="38" y="70"/>
                    <a:pt x="0" y="70"/>
                  </a:cubicBezTo>
                  <a:lnTo>
                    <a:pt x="0" y="77"/>
                  </a:lnTo>
                  <a:lnTo>
                    <a:pt x="0" y="112"/>
                  </a:lnTo>
                  <a:lnTo>
                    <a:pt x="0" y="120"/>
                  </a:lnTo>
                  <a:cubicBezTo>
                    <a:pt x="38" y="120"/>
                    <a:pt x="70" y="153"/>
                    <a:pt x="70" y="190"/>
                  </a:cubicBezTo>
                  <a:close/>
                  <a:moveTo>
                    <a:pt x="97" y="59"/>
                  </a:moveTo>
                  <a:cubicBezTo>
                    <a:pt x="105" y="72"/>
                    <a:pt x="118" y="85"/>
                    <a:pt x="132" y="94"/>
                  </a:cubicBezTo>
                  <a:cubicBezTo>
                    <a:pt x="118" y="101"/>
                    <a:pt x="105" y="114"/>
                    <a:pt x="97" y="129"/>
                  </a:cubicBezTo>
                  <a:cubicBezTo>
                    <a:pt x="88" y="114"/>
                    <a:pt x="75" y="101"/>
                    <a:pt x="62" y="94"/>
                  </a:cubicBezTo>
                  <a:cubicBezTo>
                    <a:pt x="75" y="85"/>
                    <a:pt x="88" y="76"/>
                    <a:pt x="97" y="5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45" name="Freeform 86"/>
          <p:cNvSpPr>
            <a:spLocks noChangeArrowheads="1"/>
          </p:cNvSpPr>
          <p:nvPr/>
        </p:nvSpPr>
        <p:spPr bwMode="auto">
          <a:xfrm>
            <a:off x="6651352" y="4978037"/>
            <a:ext cx="610233" cy="394634"/>
          </a:xfrm>
          <a:custGeom>
            <a:avLst/>
            <a:gdLst>
              <a:gd name="T0" fmla="*/ 1728 w 2136"/>
              <a:gd name="T1" fmla="*/ 444 h 1379"/>
              <a:gd name="T2" fmla="*/ 1684 w 2136"/>
              <a:gd name="T3" fmla="*/ 446 h 1379"/>
              <a:gd name="T4" fmla="*/ 1089 w 2136"/>
              <a:gd name="T5" fmla="*/ 0 h 1379"/>
              <a:gd name="T6" fmla="*/ 510 w 2136"/>
              <a:gd name="T7" fmla="*/ 396 h 1379"/>
              <a:gd name="T8" fmla="*/ 462 w 2136"/>
              <a:gd name="T9" fmla="*/ 392 h 1379"/>
              <a:gd name="T10" fmla="*/ 444 w 2136"/>
              <a:gd name="T11" fmla="*/ 392 h 1379"/>
              <a:gd name="T12" fmla="*/ 420 w 2136"/>
              <a:gd name="T13" fmla="*/ 396 h 1379"/>
              <a:gd name="T14" fmla="*/ 416 w 2136"/>
              <a:gd name="T15" fmla="*/ 396 h 1379"/>
              <a:gd name="T16" fmla="*/ 315 w 2136"/>
              <a:gd name="T17" fmla="*/ 416 h 1379"/>
              <a:gd name="T18" fmla="*/ 315 w 2136"/>
              <a:gd name="T19" fmla="*/ 420 h 1379"/>
              <a:gd name="T20" fmla="*/ 0 w 2136"/>
              <a:gd name="T21" fmla="*/ 884 h 1379"/>
              <a:gd name="T22" fmla="*/ 462 w 2136"/>
              <a:gd name="T23" fmla="*/ 1378 h 1379"/>
              <a:gd name="T24" fmla="*/ 1713 w 2136"/>
              <a:gd name="T25" fmla="*/ 1378 h 1379"/>
              <a:gd name="T26" fmla="*/ 2133 w 2136"/>
              <a:gd name="T27" fmla="*/ 882 h 1379"/>
              <a:gd name="T28" fmla="*/ 1728 w 2136"/>
              <a:gd name="T29" fmla="*/ 444 h 1379"/>
              <a:gd name="T30" fmla="*/ 1713 w 2136"/>
              <a:gd name="T31" fmla="*/ 1326 h 1379"/>
              <a:gd name="T32" fmla="*/ 462 w 2136"/>
              <a:gd name="T33" fmla="*/ 1326 h 1379"/>
              <a:gd name="T34" fmla="*/ 55 w 2136"/>
              <a:gd name="T35" fmla="*/ 886 h 1379"/>
              <a:gd name="T36" fmla="*/ 420 w 2136"/>
              <a:gd name="T37" fmla="*/ 450 h 1379"/>
              <a:gd name="T38" fmla="*/ 422 w 2136"/>
              <a:gd name="T39" fmla="*/ 450 h 1379"/>
              <a:gd name="T40" fmla="*/ 444 w 2136"/>
              <a:gd name="T41" fmla="*/ 450 h 1379"/>
              <a:gd name="T42" fmla="*/ 461 w 2136"/>
              <a:gd name="T43" fmla="*/ 450 h 1379"/>
              <a:gd name="T44" fmla="*/ 505 w 2136"/>
              <a:gd name="T45" fmla="*/ 451 h 1379"/>
              <a:gd name="T46" fmla="*/ 505 w 2136"/>
              <a:gd name="T47" fmla="*/ 451 h 1379"/>
              <a:gd name="T48" fmla="*/ 768 w 2136"/>
              <a:gd name="T49" fmla="*/ 602 h 1379"/>
              <a:gd name="T50" fmla="*/ 812 w 2136"/>
              <a:gd name="T51" fmla="*/ 569 h 1379"/>
              <a:gd name="T52" fmla="*/ 562 w 2136"/>
              <a:gd name="T53" fmla="*/ 409 h 1379"/>
              <a:gd name="T54" fmla="*/ 1085 w 2136"/>
              <a:gd name="T55" fmla="*/ 57 h 1379"/>
              <a:gd name="T56" fmla="*/ 1636 w 2136"/>
              <a:gd name="T57" fmla="*/ 485 h 1379"/>
              <a:gd name="T58" fmla="*/ 1641 w 2136"/>
              <a:gd name="T59" fmla="*/ 508 h 1379"/>
              <a:gd name="T60" fmla="*/ 1665 w 2136"/>
              <a:gd name="T61" fmla="*/ 505 h 1379"/>
              <a:gd name="T62" fmla="*/ 1722 w 2136"/>
              <a:gd name="T63" fmla="*/ 501 h 1379"/>
              <a:gd name="T64" fmla="*/ 2076 w 2136"/>
              <a:gd name="T65" fmla="*/ 886 h 1379"/>
              <a:gd name="T66" fmla="*/ 1713 w 2136"/>
              <a:gd name="T67" fmla="*/ 1326 h 1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136" h="1379">
                <a:moveTo>
                  <a:pt x="1728" y="444"/>
                </a:moveTo>
                <a:cubicBezTo>
                  <a:pt x="1713" y="444"/>
                  <a:pt x="1700" y="444"/>
                  <a:pt x="1684" y="446"/>
                </a:cubicBezTo>
                <a:cubicBezTo>
                  <a:pt x="1606" y="184"/>
                  <a:pt x="1365" y="0"/>
                  <a:pt x="1089" y="0"/>
                </a:cubicBezTo>
                <a:cubicBezTo>
                  <a:pt x="833" y="0"/>
                  <a:pt x="602" y="159"/>
                  <a:pt x="510" y="396"/>
                </a:cubicBezTo>
                <a:cubicBezTo>
                  <a:pt x="496" y="392"/>
                  <a:pt x="479" y="392"/>
                  <a:pt x="462" y="392"/>
                </a:cubicBezTo>
                <a:cubicBezTo>
                  <a:pt x="457" y="392"/>
                  <a:pt x="450" y="392"/>
                  <a:pt x="444" y="392"/>
                </a:cubicBezTo>
                <a:cubicBezTo>
                  <a:pt x="437" y="392"/>
                  <a:pt x="427" y="392"/>
                  <a:pt x="420" y="396"/>
                </a:cubicBezTo>
                <a:lnTo>
                  <a:pt x="416" y="396"/>
                </a:lnTo>
                <a:cubicBezTo>
                  <a:pt x="381" y="398"/>
                  <a:pt x="350" y="407"/>
                  <a:pt x="315" y="416"/>
                </a:cubicBezTo>
                <a:lnTo>
                  <a:pt x="315" y="420"/>
                </a:lnTo>
                <a:cubicBezTo>
                  <a:pt x="135" y="490"/>
                  <a:pt x="0" y="678"/>
                  <a:pt x="0" y="884"/>
                </a:cubicBezTo>
                <a:cubicBezTo>
                  <a:pt x="0" y="1148"/>
                  <a:pt x="216" y="1378"/>
                  <a:pt x="462" y="1378"/>
                </a:cubicBezTo>
                <a:lnTo>
                  <a:pt x="1713" y="1378"/>
                </a:lnTo>
                <a:cubicBezTo>
                  <a:pt x="1940" y="1378"/>
                  <a:pt x="2133" y="1103"/>
                  <a:pt x="2133" y="882"/>
                </a:cubicBezTo>
                <a:cubicBezTo>
                  <a:pt x="2135" y="650"/>
                  <a:pt x="1945" y="444"/>
                  <a:pt x="1728" y="444"/>
                </a:cubicBezTo>
                <a:close/>
                <a:moveTo>
                  <a:pt x="1713" y="1326"/>
                </a:moveTo>
                <a:lnTo>
                  <a:pt x="462" y="1326"/>
                </a:lnTo>
                <a:cubicBezTo>
                  <a:pt x="245" y="1326"/>
                  <a:pt x="55" y="1120"/>
                  <a:pt x="55" y="886"/>
                </a:cubicBezTo>
                <a:cubicBezTo>
                  <a:pt x="55" y="667"/>
                  <a:pt x="221" y="474"/>
                  <a:pt x="420" y="450"/>
                </a:cubicBezTo>
                <a:lnTo>
                  <a:pt x="422" y="450"/>
                </a:lnTo>
                <a:cubicBezTo>
                  <a:pt x="427" y="450"/>
                  <a:pt x="437" y="450"/>
                  <a:pt x="444" y="450"/>
                </a:cubicBezTo>
                <a:cubicBezTo>
                  <a:pt x="450" y="450"/>
                  <a:pt x="455" y="450"/>
                  <a:pt x="461" y="450"/>
                </a:cubicBezTo>
                <a:cubicBezTo>
                  <a:pt x="475" y="450"/>
                  <a:pt x="490" y="450"/>
                  <a:pt x="505" y="451"/>
                </a:cubicBezTo>
                <a:lnTo>
                  <a:pt x="505" y="451"/>
                </a:lnTo>
                <a:cubicBezTo>
                  <a:pt x="610" y="466"/>
                  <a:pt x="704" y="516"/>
                  <a:pt x="768" y="602"/>
                </a:cubicBezTo>
                <a:lnTo>
                  <a:pt x="812" y="569"/>
                </a:lnTo>
                <a:cubicBezTo>
                  <a:pt x="748" y="486"/>
                  <a:pt x="661" y="431"/>
                  <a:pt x="562" y="409"/>
                </a:cubicBezTo>
                <a:cubicBezTo>
                  <a:pt x="648" y="197"/>
                  <a:pt x="855" y="57"/>
                  <a:pt x="1085" y="57"/>
                </a:cubicBezTo>
                <a:cubicBezTo>
                  <a:pt x="1347" y="57"/>
                  <a:pt x="1571" y="234"/>
                  <a:pt x="1636" y="485"/>
                </a:cubicBezTo>
                <a:lnTo>
                  <a:pt x="1641" y="508"/>
                </a:lnTo>
                <a:lnTo>
                  <a:pt x="1665" y="505"/>
                </a:lnTo>
                <a:cubicBezTo>
                  <a:pt x="1687" y="503"/>
                  <a:pt x="1706" y="501"/>
                  <a:pt x="1722" y="501"/>
                </a:cubicBezTo>
                <a:cubicBezTo>
                  <a:pt x="1910" y="501"/>
                  <a:pt x="2076" y="680"/>
                  <a:pt x="2076" y="886"/>
                </a:cubicBezTo>
                <a:cubicBezTo>
                  <a:pt x="2081" y="1079"/>
                  <a:pt x="1910" y="1326"/>
                  <a:pt x="1713" y="13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60" name="Rectangle 659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2871184" y="4591162"/>
            <a:ext cx="61035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O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ptimiz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 Databricks Runtime Engine</a:t>
            </a:r>
          </a:p>
        </p:txBody>
      </p:sp>
      <p:sp>
        <p:nvSpPr>
          <p:cNvPr id="663" name="Rectangle 662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3169464" y="549317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BRICKS I/O</a:t>
            </a:r>
          </a:p>
        </p:txBody>
      </p:sp>
      <p:sp>
        <p:nvSpPr>
          <p:cNvPr id="665" name="Rectangle 664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6333964" y="549212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RVERLESS</a:t>
            </a:r>
          </a:p>
        </p:txBody>
      </p:sp>
      <p:sp>
        <p:nvSpPr>
          <p:cNvPr id="576" name="Freeform 2"/>
          <p:cNvSpPr>
            <a:spLocks noChangeArrowheads="1"/>
          </p:cNvSpPr>
          <p:nvPr/>
        </p:nvSpPr>
        <p:spPr bwMode="auto">
          <a:xfrm>
            <a:off x="2837398" y="3102412"/>
            <a:ext cx="6350000" cy="1378842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59" name="Rectangle 658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2915305" y="1731353"/>
            <a:ext cx="36444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Collaborative Workspace</a:t>
            </a:r>
          </a:p>
        </p:txBody>
      </p:sp>
      <p:sp>
        <p:nvSpPr>
          <p:cNvPr id="649" name="TextBox 648"/>
          <p:cNvSpPr txBox="1"/>
          <p:nvPr/>
        </p:nvSpPr>
        <p:spPr>
          <a:xfrm>
            <a:off x="573564" y="3462022"/>
            <a:ext cx="138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Cloud storage</a:t>
            </a:r>
          </a:p>
        </p:txBody>
      </p:sp>
      <p:sp>
        <p:nvSpPr>
          <p:cNvPr id="652" name="TextBox 651"/>
          <p:cNvSpPr txBox="1"/>
          <p:nvPr/>
        </p:nvSpPr>
        <p:spPr>
          <a:xfrm>
            <a:off x="375153" y="4410128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warehouses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420288" y="5394379"/>
            <a:ext cx="1689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Hadoop storage</a:t>
            </a:r>
          </a:p>
        </p:txBody>
      </p:sp>
      <p:sp>
        <p:nvSpPr>
          <p:cNvPr id="657" name="TextBox 656"/>
          <p:cNvSpPr txBox="1"/>
          <p:nvPr/>
        </p:nvSpPr>
        <p:spPr>
          <a:xfrm>
            <a:off x="375153" y="2484832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IoT / streaming data</a:t>
            </a:r>
          </a:p>
        </p:txBody>
      </p:sp>
      <p:sp>
        <p:nvSpPr>
          <p:cNvPr id="735" name="Rectangle 734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7853879" y="5484221"/>
            <a:ext cx="121619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Rest APIs</a:t>
            </a:r>
          </a:p>
        </p:txBody>
      </p:sp>
      <p:sp>
        <p:nvSpPr>
          <p:cNvPr id="701" name="TextBox 700"/>
          <p:cNvSpPr txBox="1"/>
          <p:nvPr/>
        </p:nvSpPr>
        <p:spPr>
          <a:xfrm>
            <a:off x="9899724" y="2360508"/>
            <a:ext cx="1962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Machine learning models</a:t>
            </a:r>
          </a:p>
        </p:txBody>
      </p:sp>
      <p:sp>
        <p:nvSpPr>
          <p:cNvPr id="699" name="TextBox 698"/>
          <p:cNvSpPr txBox="1"/>
          <p:nvPr/>
        </p:nvSpPr>
        <p:spPr>
          <a:xfrm>
            <a:off x="10305938" y="3387966"/>
            <a:ext cx="1188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BI tools</a:t>
            </a:r>
          </a:p>
        </p:txBody>
      </p:sp>
      <p:sp>
        <p:nvSpPr>
          <p:cNvPr id="700" name="TextBox 699"/>
          <p:cNvSpPr txBox="1"/>
          <p:nvPr/>
        </p:nvSpPr>
        <p:spPr>
          <a:xfrm>
            <a:off x="10213165" y="4602238"/>
            <a:ext cx="1353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exports</a:t>
            </a:r>
          </a:p>
        </p:txBody>
      </p:sp>
      <p:grpSp>
        <p:nvGrpSpPr>
          <p:cNvPr id="704" name="Group 703"/>
          <p:cNvGrpSpPr/>
          <p:nvPr/>
        </p:nvGrpSpPr>
        <p:grpSpPr>
          <a:xfrm>
            <a:off x="10634752" y="1874482"/>
            <a:ext cx="492448" cy="458120"/>
            <a:chOff x="4214813" y="1292225"/>
            <a:chExt cx="2573337" cy="2393950"/>
          </a:xfrm>
          <a:solidFill>
            <a:schemeClr val="accent1"/>
          </a:solidFill>
        </p:grpSpPr>
        <p:sp>
          <p:nvSpPr>
            <p:cNvPr id="705" name="Freeform 1"/>
            <p:cNvSpPr>
              <a:spLocks noChangeArrowheads="1"/>
            </p:cNvSpPr>
            <p:nvPr/>
          </p:nvSpPr>
          <p:spPr bwMode="auto">
            <a:xfrm>
              <a:off x="4214813" y="2047875"/>
              <a:ext cx="309562" cy="641350"/>
            </a:xfrm>
            <a:custGeom>
              <a:avLst/>
              <a:gdLst>
                <a:gd name="T0" fmla="*/ 647 w 861"/>
                <a:gd name="T1" fmla="*/ 1374 h 1783"/>
                <a:gd name="T2" fmla="*/ 645 w 861"/>
                <a:gd name="T3" fmla="*/ 1374 h 1783"/>
                <a:gd name="T4" fmla="*/ 649 w 861"/>
                <a:gd name="T5" fmla="*/ 1374 h 1783"/>
                <a:gd name="T6" fmla="*/ 647 w 861"/>
                <a:gd name="T7" fmla="*/ 1374 h 1783"/>
                <a:gd name="T8" fmla="*/ 593 w 861"/>
                <a:gd name="T9" fmla="*/ 1384 h 1783"/>
                <a:gd name="T10" fmla="*/ 307 w 861"/>
                <a:gd name="T11" fmla="*/ 1112 h 1783"/>
                <a:gd name="T12" fmla="*/ 307 w 861"/>
                <a:gd name="T13" fmla="*/ 393 h 1783"/>
                <a:gd name="T14" fmla="*/ 394 w 861"/>
                <a:gd name="T15" fmla="*/ 133 h 1783"/>
                <a:gd name="T16" fmla="*/ 134 w 861"/>
                <a:gd name="T17" fmla="*/ 47 h 1783"/>
                <a:gd name="T18" fmla="*/ 48 w 861"/>
                <a:gd name="T19" fmla="*/ 307 h 1783"/>
                <a:gd name="T20" fmla="*/ 134 w 861"/>
                <a:gd name="T21" fmla="*/ 393 h 1783"/>
                <a:gd name="T22" fmla="*/ 134 w 861"/>
                <a:gd name="T23" fmla="*/ 1185 h 1783"/>
                <a:gd name="T24" fmla="*/ 464 w 861"/>
                <a:gd name="T25" fmla="*/ 1503 h 1783"/>
                <a:gd name="T26" fmla="*/ 582 w 861"/>
                <a:gd name="T27" fmla="*/ 1748 h 1783"/>
                <a:gd name="T28" fmla="*/ 826 w 861"/>
                <a:gd name="T29" fmla="*/ 1631 h 1783"/>
                <a:gd name="T30" fmla="*/ 708 w 861"/>
                <a:gd name="T31" fmla="*/ 1386 h 1783"/>
                <a:gd name="T32" fmla="*/ 647 w 861"/>
                <a:gd name="T33" fmla="*/ 1374 h 1783"/>
                <a:gd name="T34" fmla="*/ 593 w 861"/>
                <a:gd name="T35" fmla="*/ 1384 h 1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1" h="1783">
                  <a:moveTo>
                    <a:pt x="647" y="1374"/>
                  </a:moveTo>
                  <a:cubicBezTo>
                    <a:pt x="646" y="1374"/>
                    <a:pt x="646" y="1374"/>
                    <a:pt x="645" y="1374"/>
                  </a:cubicBezTo>
                  <a:lnTo>
                    <a:pt x="649" y="1374"/>
                  </a:lnTo>
                  <a:cubicBezTo>
                    <a:pt x="648" y="1374"/>
                    <a:pt x="648" y="1374"/>
                    <a:pt x="647" y="1374"/>
                  </a:cubicBezTo>
                  <a:close/>
                  <a:moveTo>
                    <a:pt x="593" y="1384"/>
                  </a:moveTo>
                  <a:lnTo>
                    <a:pt x="307" y="1112"/>
                  </a:lnTo>
                  <a:lnTo>
                    <a:pt x="307" y="393"/>
                  </a:lnTo>
                  <a:cubicBezTo>
                    <a:pt x="402" y="346"/>
                    <a:pt x="441" y="230"/>
                    <a:pt x="394" y="133"/>
                  </a:cubicBezTo>
                  <a:cubicBezTo>
                    <a:pt x="347" y="39"/>
                    <a:pt x="231" y="0"/>
                    <a:pt x="134" y="47"/>
                  </a:cubicBezTo>
                  <a:cubicBezTo>
                    <a:pt x="40" y="94"/>
                    <a:pt x="0" y="210"/>
                    <a:pt x="48" y="307"/>
                  </a:cubicBezTo>
                  <a:cubicBezTo>
                    <a:pt x="66" y="344"/>
                    <a:pt x="97" y="373"/>
                    <a:pt x="134" y="393"/>
                  </a:cubicBezTo>
                  <a:lnTo>
                    <a:pt x="134" y="1185"/>
                  </a:lnTo>
                  <a:lnTo>
                    <a:pt x="464" y="1503"/>
                  </a:lnTo>
                  <a:cubicBezTo>
                    <a:pt x="430" y="1603"/>
                    <a:pt x="482" y="1713"/>
                    <a:pt x="582" y="1748"/>
                  </a:cubicBezTo>
                  <a:cubicBezTo>
                    <a:pt x="681" y="1782"/>
                    <a:pt x="791" y="1730"/>
                    <a:pt x="826" y="1631"/>
                  </a:cubicBezTo>
                  <a:cubicBezTo>
                    <a:pt x="860" y="1531"/>
                    <a:pt x="808" y="1420"/>
                    <a:pt x="708" y="1386"/>
                  </a:cubicBezTo>
                  <a:cubicBezTo>
                    <a:pt x="687" y="1380"/>
                    <a:pt x="668" y="1375"/>
                    <a:pt x="647" y="1374"/>
                  </a:cubicBezTo>
                  <a:cubicBezTo>
                    <a:pt x="628" y="1375"/>
                    <a:pt x="611" y="1378"/>
                    <a:pt x="593" y="138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6" name="Freeform 2"/>
            <p:cNvSpPr>
              <a:spLocks noChangeArrowheads="1"/>
            </p:cNvSpPr>
            <p:nvPr/>
          </p:nvSpPr>
          <p:spPr bwMode="auto">
            <a:xfrm>
              <a:off x="4376738" y="1898650"/>
              <a:ext cx="1389062" cy="1787525"/>
            </a:xfrm>
            <a:custGeom>
              <a:avLst/>
              <a:gdLst>
                <a:gd name="T0" fmla="*/ 3733 w 3857"/>
                <a:gd name="T1" fmla="*/ 4576 h 4964"/>
                <a:gd name="T2" fmla="*/ 3733 w 3857"/>
                <a:gd name="T3" fmla="*/ 2003 h 4964"/>
                <a:gd name="T4" fmla="*/ 3079 w 3857"/>
                <a:gd name="T5" fmla="*/ 1389 h 4964"/>
                <a:gd name="T6" fmla="*/ 1573 w 3857"/>
                <a:gd name="T7" fmla="*/ 1389 h 4964"/>
                <a:gd name="T8" fmla="*/ 373 w 3857"/>
                <a:gd name="T9" fmla="*/ 255 h 4964"/>
                <a:gd name="T10" fmla="*/ 384 w 3857"/>
                <a:gd name="T11" fmla="*/ 192 h 4964"/>
                <a:gd name="T12" fmla="*/ 192 w 3857"/>
                <a:gd name="T13" fmla="*/ 0 h 4964"/>
                <a:gd name="T14" fmla="*/ 0 w 3857"/>
                <a:gd name="T15" fmla="*/ 192 h 4964"/>
                <a:gd name="T16" fmla="*/ 192 w 3857"/>
                <a:gd name="T17" fmla="*/ 385 h 4964"/>
                <a:gd name="T18" fmla="*/ 192 w 3857"/>
                <a:gd name="T19" fmla="*/ 385 h 4964"/>
                <a:gd name="T20" fmla="*/ 250 w 3857"/>
                <a:gd name="T21" fmla="*/ 375 h 4964"/>
                <a:gd name="T22" fmla="*/ 1506 w 3857"/>
                <a:gd name="T23" fmla="*/ 1563 h 4964"/>
                <a:gd name="T24" fmla="*/ 3012 w 3857"/>
                <a:gd name="T25" fmla="*/ 1563 h 4964"/>
                <a:gd name="T26" fmla="*/ 3562 w 3857"/>
                <a:gd name="T27" fmla="*/ 2082 h 4964"/>
                <a:gd name="T28" fmla="*/ 3562 w 3857"/>
                <a:gd name="T29" fmla="*/ 4563 h 4964"/>
                <a:gd name="T30" fmla="*/ 3456 w 3857"/>
                <a:gd name="T31" fmla="*/ 4816 h 4964"/>
                <a:gd name="T32" fmla="*/ 3709 w 3857"/>
                <a:gd name="T33" fmla="*/ 4922 h 4964"/>
                <a:gd name="T34" fmla="*/ 3815 w 3857"/>
                <a:gd name="T35" fmla="*/ 4669 h 4964"/>
                <a:gd name="T36" fmla="*/ 3735 w 3857"/>
                <a:gd name="T37" fmla="*/ 4576 h 4964"/>
                <a:gd name="T38" fmla="*/ 3733 w 3857"/>
                <a:gd name="T39" fmla="*/ 4576 h 4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57" h="4964">
                  <a:moveTo>
                    <a:pt x="3733" y="4576"/>
                  </a:moveTo>
                  <a:lnTo>
                    <a:pt x="3733" y="2003"/>
                  </a:lnTo>
                  <a:lnTo>
                    <a:pt x="3079" y="1389"/>
                  </a:lnTo>
                  <a:lnTo>
                    <a:pt x="1573" y="1389"/>
                  </a:lnTo>
                  <a:lnTo>
                    <a:pt x="373" y="255"/>
                  </a:lnTo>
                  <a:cubicBezTo>
                    <a:pt x="379" y="235"/>
                    <a:pt x="384" y="214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ubicBezTo>
                    <a:pt x="85" y="0"/>
                    <a:pt x="0" y="85"/>
                    <a:pt x="0" y="192"/>
                  </a:cubicBezTo>
                  <a:cubicBezTo>
                    <a:pt x="0" y="298"/>
                    <a:pt x="86" y="385"/>
                    <a:pt x="192" y="385"/>
                  </a:cubicBezTo>
                  <a:lnTo>
                    <a:pt x="192" y="385"/>
                  </a:lnTo>
                  <a:cubicBezTo>
                    <a:pt x="212" y="385"/>
                    <a:pt x="231" y="382"/>
                    <a:pt x="250" y="375"/>
                  </a:cubicBezTo>
                  <a:lnTo>
                    <a:pt x="1506" y="1563"/>
                  </a:lnTo>
                  <a:lnTo>
                    <a:pt x="3012" y="1563"/>
                  </a:lnTo>
                  <a:lnTo>
                    <a:pt x="3562" y="2082"/>
                  </a:lnTo>
                  <a:lnTo>
                    <a:pt x="3562" y="4563"/>
                  </a:lnTo>
                  <a:cubicBezTo>
                    <a:pt x="3462" y="4604"/>
                    <a:pt x="3415" y="4716"/>
                    <a:pt x="3456" y="4816"/>
                  </a:cubicBezTo>
                  <a:cubicBezTo>
                    <a:pt x="3497" y="4916"/>
                    <a:pt x="3609" y="4963"/>
                    <a:pt x="3709" y="4922"/>
                  </a:cubicBezTo>
                  <a:cubicBezTo>
                    <a:pt x="3809" y="4881"/>
                    <a:pt x="3856" y="4769"/>
                    <a:pt x="3815" y="4669"/>
                  </a:cubicBezTo>
                  <a:cubicBezTo>
                    <a:pt x="3799" y="4630"/>
                    <a:pt x="3771" y="4597"/>
                    <a:pt x="3735" y="4576"/>
                  </a:cubicBezTo>
                  <a:lnTo>
                    <a:pt x="3733" y="4576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7" name="Freeform 3"/>
            <p:cNvSpPr>
              <a:spLocks noChangeArrowheads="1"/>
            </p:cNvSpPr>
            <p:nvPr/>
          </p:nvSpPr>
          <p:spPr bwMode="auto">
            <a:xfrm>
              <a:off x="4433888" y="2249488"/>
              <a:ext cx="976312" cy="457200"/>
            </a:xfrm>
            <a:custGeom>
              <a:avLst/>
              <a:gdLst>
                <a:gd name="T0" fmla="*/ 2494 w 2714"/>
                <a:gd name="T1" fmla="*/ 854 h 1268"/>
                <a:gd name="T2" fmla="*/ 2321 w 2714"/>
                <a:gd name="T3" fmla="*/ 960 h 1268"/>
                <a:gd name="T4" fmla="*/ 1100 w 2714"/>
                <a:gd name="T5" fmla="*/ 960 h 1268"/>
                <a:gd name="T6" fmla="*/ 401 w 2714"/>
                <a:gd name="T7" fmla="*/ 302 h 1268"/>
                <a:gd name="T8" fmla="*/ 301 w 2714"/>
                <a:gd name="T9" fmla="*/ 44 h 1268"/>
                <a:gd name="T10" fmla="*/ 44 w 2714"/>
                <a:gd name="T11" fmla="*/ 143 h 1268"/>
                <a:gd name="T12" fmla="*/ 143 w 2714"/>
                <a:gd name="T13" fmla="*/ 401 h 1268"/>
                <a:gd name="T14" fmla="*/ 265 w 2714"/>
                <a:gd name="T15" fmla="*/ 413 h 1268"/>
                <a:gd name="T16" fmla="*/ 1030 w 2714"/>
                <a:gd name="T17" fmla="*/ 1135 h 1268"/>
                <a:gd name="T18" fmla="*/ 2323 w 2714"/>
                <a:gd name="T19" fmla="*/ 1135 h 1268"/>
                <a:gd name="T20" fmla="*/ 2581 w 2714"/>
                <a:gd name="T21" fmla="*/ 1218 h 1268"/>
                <a:gd name="T22" fmla="*/ 2664 w 2714"/>
                <a:gd name="T23" fmla="*/ 960 h 1268"/>
                <a:gd name="T24" fmla="*/ 2494 w 2714"/>
                <a:gd name="T25" fmla="*/ 855 h 1268"/>
                <a:gd name="T26" fmla="*/ 2494 w 2714"/>
                <a:gd name="T27" fmla="*/ 854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4" h="1268">
                  <a:moveTo>
                    <a:pt x="2494" y="854"/>
                  </a:moveTo>
                  <a:cubicBezTo>
                    <a:pt x="2421" y="854"/>
                    <a:pt x="2354" y="895"/>
                    <a:pt x="2321" y="960"/>
                  </a:cubicBezTo>
                  <a:lnTo>
                    <a:pt x="1100" y="960"/>
                  </a:lnTo>
                  <a:lnTo>
                    <a:pt x="401" y="302"/>
                  </a:lnTo>
                  <a:cubicBezTo>
                    <a:pt x="445" y="204"/>
                    <a:pt x="401" y="88"/>
                    <a:pt x="301" y="44"/>
                  </a:cubicBezTo>
                  <a:cubicBezTo>
                    <a:pt x="202" y="0"/>
                    <a:pt x="87" y="43"/>
                    <a:pt x="44" y="143"/>
                  </a:cubicBezTo>
                  <a:cubicBezTo>
                    <a:pt x="0" y="242"/>
                    <a:pt x="44" y="357"/>
                    <a:pt x="143" y="401"/>
                  </a:cubicBezTo>
                  <a:cubicBezTo>
                    <a:pt x="180" y="418"/>
                    <a:pt x="225" y="423"/>
                    <a:pt x="265" y="413"/>
                  </a:cubicBezTo>
                  <a:lnTo>
                    <a:pt x="1030" y="1135"/>
                  </a:lnTo>
                  <a:lnTo>
                    <a:pt x="2323" y="1135"/>
                  </a:lnTo>
                  <a:cubicBezTo>
                    <a:pt x="2372" y="1229"/>
                    <a:pt x="2488" y="1267"/>
                    <a:pt x="2581" y="1218"/>
                  </a:cubicBezTo>
                  <a:cubicBezTo>
                    <a:pt x="2676" y="1169"/>
                    <a:pt x="2713" y="1053"/>
                    <a:pt x="2664" y="960"/>
                  </a:cubicBezTo>
                  <a:cubicBezTo>
                    <a:pt x="2632" y="896"/>
                    <a:pt x="2566" y="855"/>
                    <a:pt x="2494" y="855"/>
                  </a:cubicBezTo>
                  <a:lnTo>
                    <a:pt x="2494" y="854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8" name="Freeform 4"/>
            <p:cNvSpPr>
              <a:spLocks noChangeArrowheads="1"/>
            </p:cNvSpPr>
            <p:nvPr/>
          </p:nvSpPr>
          <p:spPr bwMode="auto">
            <a:xfrm>
              <a:off x="4621213" y="1631950"/>
              <a:ext cx="465137" cy="693738"/>
            </a:xfrm>
            <a:custGeom>
              <a:avLst/>
              <a:gdLst>
                <a:gd name="T0" fmla="*/ 190 w 1291"/>
                <a:gd name="T1" fmla="*/ 384 h 1925"/>
                <a:gd name="T2" fmla="*/ 248 w 1291"/>
                <a:gd name="T3" fmla="*/ 374 h 1925"/>
                <a:gd name="T4" fmla="*/ 469 w 1291"/>
                <a:gd name="T5" fmla="*/ 582 h 1925"/>
                <a:gd name="T6" fmla="*/ 469 w 1291"/>
                <a:gd name="T7" fmla="*/ 1246 h 1925"/>
                <a:gd name="T8" fmla="*/ 882 w 1291"/>
                <a:gd name="T9" fmla="*/ 1640 h 1925"/>
                <a:gd name="T10" fmla="*/ 892 w 1291"/>
                <a:gd name="T11" fmla="*/ 1630 h 1925"/>
                <a:gd name="T12" fmla="*/ 996 w 1291"/>
                <a:gd name="T13" fmla="*/ 1883 h 1925"/>
                <a:gd name="T14" fmla="*/ 1249 w 1291"/>
                <a:gd name="T15" fmla="*/ 1779 h 1925"/>
                <a:gd name="T16" fmla="*/ 1145 w 1291"/>
                <a:gd name="T17" fmla="*/ 1526 h 1925"/>
                <a:gd name="T18" fmla="*/ 993 w 1291"/>
                <a:gd name="T19" fmla="*/ 1527 h 1925"/>
                <a:gd name="T20" fmla="*/ 1003 w 1291"/>
                <a:gd name="T21" fmla="*/ 1517 h 1925"/>
                <a:gd name="T22" fmla="*/ 643 w 1291"/>
                <a:gd name="T23" fmla="*/ 1171 h 1925"/>
                <a:gd name="T24" fmla="*/ 643 w 1291"/>
                <a:gd name="T25" fmla="*/ 508 h 1925"/>
                <a:gd name="T26" fmla="*/ 374 w 1291"/>
                <a:gd name="T27" fmla="*/ 255 h 1925"/>
                <a:gd name="T28" fmla="*/ 385 w 1291"/>
                <a:gd name="T29" fmla="*/ 193 h 1925"/>
                <a:gd name="T30" fmla="*/ 193 w 1291"/>
                <a:gd name="T31" fmla="*/ 0 h 1925"/>
                <a:gd name="T32" fmla="*/ 0 w 1291"/>
                <a:gd name="T33" fmla="*/ 193 h 1925"/>
                <a:gd name="T34" fmla="*/ 190 w 1291"/>
                <a:gd name="T35" fmla="*/ 386 h 1925"/>
                <a:gd name="T36" fmla="*/ 190 w 1291"/>
                <a:gd name="T37" fmla="*/ 384 h 1925"/>
                <a:gd name="T38" fmla="*/ 193 w 1291"/>
                <a:gd name="T39" fmla="*/ 386 h 1925"/>
                <a:gd name="T40" fmla="*/ 190 w 1291"/>
                <a:gd name="T41" fmla="*/ 386 h 1925"/>
                <a:gd name="T42" fmla="*/ 190 w 1291"/>
                <a:gd name="T43" fmla="*/ 386 h 1925"/>
                <a:gd name="T44" fmla="*/ 193 w 1291"/>
                <a:gd name="T45" fmla="*/ 386 h 1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1" h="1925">
                  <a:moveTo>
                    <a:pt x="190" y="384"/>
                  </a:moveTo>
                  <a:cubicBezTo>
                    <a:pt x="209" y="384"/>
                    <a:pt x="229" y="381"/>
                    <a:pt x="248" y="374"/>
                  </a:cubicBezTo>
                  <a:lnTo>
                    <a:pt x="469" y="582"/>
                  </a:lnTo>
                  <a:lnTo>
                    <a:pt x="469" y="1246"/>
                  </a:lnTo>
                  <a:lnTo>
                    <a:pt x="882" y="1640"/>
                  </a:lnTo>
                  <a:lnTo>
                    <a:pt x="892" y="1630"/>
                  </a:lnTo>
                  <a:cubicBezTo>
                    <a:pt x="851" y="1730"/>
                    <a:pt x="897" y="1842"/>
                    <a:pt x="996" y="1883"/>
                  </a:cubicBezTo>
                  <a:cubicBezTo>
                    <a:pt x="1096" y="1924"/>
                    <a:pt x="1208" y="1878"/>
                    <a:pt x="1249" y="1779"/>
                  </a:cubicBezTo>
                  <a:cubicBezTo>
                    <a:pt x="1290" y="1679"/>
                    <a:pt x="1244" y="1566"/>
                    <a:pt x="1145" y="1526"/>
                  </a:cubicBezTo>
                  <a:cubicBezTo>
                    <a:pt x="1096" y="1506"/>
                    <a:pt x="1040" y="1506"/>
                    <a:pt x="993" y="1527"/>
                  </a:cubicBezTo>
                  <a:lnTo>
                    <a:pt x="1003" y="1517"/>
                  </a:lnTo>
                  <a:lnTo>
                    <a:pt x="643" y="1171"/>
                  </a:lnTo>
                  <a:lnTo>
                    <a:pt x="643" y="508"/>
                  </a:lnTo>
                  <a:lnTo>
                    <a:pt x="374" y="255"/>
                  </a:lnTo>
                  <a:cubicBezTo>
                    <a:pt x="381" y="236"/>
                    <a:pt x="385" y="214"/>
                    <a:pt x="385" y="193"/>
                  </a:cubicBezTo>
                  <a:cubicBezTo>
                    <a:pt x="385" y="87"/>
                    <a:pt x="299" y="0"/>
                    <a:pt x="193" y="0"/>
                  </a:cubicBezTo>
                  <a:cubicBezTo>
                    <a:pt x="87" y="0"/>
                    <a:pt x="0" y="87"/>
                    <a:pt x="0" y="193"/>
                  </a:cubicBezTo>
                  <a:cubicBezTo>
                    <a:pt x="0" y="298"/>
                    <a:pt x="85" y="384"/>
                    <a:pt x="190" y="386"/>
                  </a:cubicBezTo>
                  <a:lnTo>
                    <a:pt x="190" y="384"/>
                  </a:lnTo>
                  <a:close/>
                  <a:moveTo>
                    <a:pt x="193" y="386"/>
                  </a:moveTo>
                  <a:lnTo>
                    <a:pt x="190" y="386"/>
                  </a:lnTo>
                  <a:lnTo>
                    <a:pt x="190" y="386"/>
                  </a:lnTo>
                  <a:cubicBezTo>
                    <a:pt x="191" y="386"/>
                    <a:pt x="192" y="386"/>
                    <a:pt x="193" y="38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9" name="Freeform 5"/>
            <p:cNvSpPr>
              <a:spLocks noChangeArrowheads="1"/>
            </p:cNvSpPr>
            <p:nvPr/>
          </p:nvSpPr>
          <p:spPr bwMode="auto">
            <a:xfrm>
              <a:off x="5118100" y="1322388"/>
              <a:ext cx="325438" cy="330200"/>
            </a:xfrm>
            <a:custGeom>
              <a:avLst/>
              <a:gdLst>
                <a:gd name="T0" fmla="*/ 218 w 904"/>
                <a:gd name="T1" fmla="*/ 412 h 916"/>
                <a:gd name="T2" fmla="*/ 266 w 904"/>
                <a:gd name="T3" fmla="*/ 405 h 916"/>
                <a:gd name="T4" fmla="*/ 494 w 904"/>
                <a:gd name="T5" fmla="*/ 619 h 916"/>
                <a:gd name="T6" fmla="*/ 605 w 904"/>
                <a:gd name="T7" fmla="*/ 875 h 916"/>
                <a:gd name="T8" fmla="*/ 862 w 904"/>
                <a:gd name="T9" fmla="*/ 764 h 916"/>
                <a:gd name="T10" fmla="*/ 751 w 904"/>
                <a:gd name="T11" fmla="*/ 508 h 916"/>
                <a:gd name="T12" fmla="*/ 623 w 904"/>
                <a:gd name="T13" fmla="*/ 501 h 916"/>
                <a:gd name="T14" fmla="*/ 398 w 904"/>
                <a:gd name="T15" fmla="*/ 291 h 916"/>
                <a:gd name="T16" fmla="*/ 290 w 904"/>
                <a:gd name="T17" fmla="*/ 39 h 916"/>
                <a:gd name="T18" fmla="*/ 39 w 904"/>
                <a:gd name="T19" fmla="*/ 147 h 916"/>
                <a:gd name="T20" fmla="*/ 147 w 904"/>
                <a:gd name="T21" fmla="*/ 399 h 916"/>
                <a:gd name="T22" fmla="*/ 218 w 904"/>
                <a:gd name="T23" fmla="*/ 412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4" h="916">
                  <a:moveTo>
                    <a:pt x="218" y="412"/>
                  </a:moveTo>
                  <a:cubicBezTo>
                    <a:pt x="235" y="412"/>
                    <a:pt x="251" y="408"/>
                    <a:pt x="266" y="405"/>
                  </a:cubicBezTo>
                  <a:lnTo>
                    <a:pt x="494" y="619"/>
                  </a:lnTo>
                  <a:cubicBezTo>
                    <a:pt x="454" y="720"/>
                    <a:pt x="504" y="834"/>
                    <a:pt x="605" y="875"/>
                  </a:cubicBezTo>
                  <a:cubicBezTo>
                    <a:pt x="707" y="915"/>
                    <a:pt x="821" y="866"/>
                    <a:pt x="862" y="764"/>
                  </a:cubicBezTo>
                  <a:cubicBezTo>
                    <a:pt x="903" y="663"/>
                    <a:pt x="852" y="549"/>
                    <a:pt x="751" y="508"/>
                  </a:cubicBezTo>
                  <a:cubicBezTo>
                    <a:pt x="710" y="492"/>
                    <a:pt x="664" y="490"/>
                    <a:pt x="623" y="501"/>
                  </a:cubicBezTo>
                  <a:lnTo>
                    <a:pt x="398" y="291"/>
                  </a:lnTo>
                  <a:cubicBezTo>
                    <a:pt x="437" y="191"/>
                    <a:pt x="390" y="80"/>
                    <a:pt x="290" y="39"/>
                  </a:cubicBezTo>
                  <a:cubicBezTo>
                    <a:pt x="191" y="0"/>
                    <a:pt x="80" y="48"/>
                    <a:pt x="39" y="147"/>
                  </a:cubicBezTo>
                  <a:cubicBezTo>
                    <a:pt x="0" y="247"/>
                    <a:pt x="47" y="358"/>
                    <a:pt x="147" y="399"/>
                  </a:cubicBezTo>
                  <a:cubicBezTo>
                    <a:pt x="169" y="407"/>
                    <a:pt x="194" y="412"/>
                    <a:pt x="218" y="41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0" name="Freeform 6"/>
            <p:cNvSpPr>
              <a:spLocks noChangeArrowheads="1"/>
            </p:cNvSpPr>
            <p:nvPr/>
          </p:nvSpPr>
          <p:spPr bwMode="auto">
            <a:xfrm>
              <a:off x="5194300" y="1292225"/>
              <a:ext cx="577850" cy="565150"/>
            </a:xfrm>
            <a:custGeom>
              <a:avLst/>
              <a:gdLst>
                <a:gd name="T0" fmla="*/ 870 w 1603"/>
                <a:gd name="T1" fmla="*/ 404 h 1570"/>
                <a:gd name="T2" fmla="*/ 939 w 1603"/>
                <a:gd name="T3" fmla="*/ 391 h 1570"/>
                <a:gd name="T4" fmla="*/ 1344 w 1603"/>
                <a:gd name="T5" fmla="*/ 771 h 1570"/>
                <a:gd name="T6" fmla="*/ 797 w 1603"/>
                <a:gd name="T7" fmla="*/ 1262 h 1570"/>
                <a:gd name="T8" fmla="*/ 393 w 1603"/>
                <a:gd name="T9" fmla="*/ 1262 h 1570"/>
                <a:gd name="T10" fmla="*/ 134 w 1603"/>
                <a:gd name="T11" fmla="*/ 1176 h 1570"/>
                <a:gd name="T12" fmla="*/ 47 w 1603"/>
                <a:gd name="T13" fmla="*/ 1436 h 1570"/>
                <a:gd name="T14" fmla="*/ 307 w 1603"/>
                <a:gd name="T15" fmla="*/ 1522 h 1570"/>
                <a:gd name="T16" fmla="*/ 393 w 1603"/>
                <a:gd name="T17" fmla="*/ 1436 h 1570"/>
                <a:gd name="T18" fmla="*/ 865 w 1603"/>
                <a:gd name="T19" fmla="*/ 1436 h 1570"/>
                <a:gd name="T20" fmla="*/ 1602 w 1603"/>
                <a:gd name="T21" fmla="*/ 774 h 1570"/>
                <a:gd name="T22" fmla="*/ 1055 w 1603"/>
                <a:gd name="T23" fmla="*/ 263 h 1570"/>
                <a:gd name="T24" fmla="*/ 919 w 1603"/>
                <a:gd name="T25" fmla="*/ 28 h 1570"/>
                <a:gd name="T26" fmla="*/ 684 w 1603"/>
                <a:gd name="T27" fmla="*/ 164 h 1570"/>
                <a:gd name="T28" fmla="*/ 819 w 1603"/>
                <a:gd name="T29" fmla="*/ 399 h 1570"/>
                <a:gd name="T30" fmla="*/ 870 w 1603"/>
                <a:gd name="T31" fmla="*/ 404 h 1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03" h="1570">
                  <a:moveTo>
                    <a:pt x="870" y="404"/>
                  </a:moveTo>
                  <a:cubicBezTo>
                    <a:pt x="895" y="404"/>
                    <a:pt x="917" y="399"/>
                    <a:pt x="939" y="391"/>
                  </a:cubicBezTo>
                  <a:lnTo>
                    <a:pt x="1344" y="771"/>
                  </a:lnTo>
                  <a:lnTo>
                    <a:pt x="797" y="1262"/>
                  </a:lnTo>
                  <a:lnTo>
                    <a:pt x="393" y="1262"/>
                  </a:lnTo>
                  <a:cubicBezTo>
                    <a:pt x="346" y="1168"/>
                    <a:pt x="230" y="1129"/>
                    <a:pt x="134" y="1176"/>
                  </a:cubicBezTo>
                  <a:cubicBezTo>
                    <a:pt x="39" y="1223"/>
                    <a:pt x="0" y="1339"/>
                    <a:pt x="47" y="1436"/>
                  </a:cubicBezTo>
                  <a:cubicBezTo>
                    <a:pt x="94" y="1530"/>
                    <a:pt x="210" y="1569"/>
                    <a:pt x="307" y="1522"/>
                  </a:cubicBezTo>
                  <a:cubicBezTo>
                    <a:pt x="344" y="1504"/>
                    <a:pt x="374" y="1473"/>
                    <a:pt x="393" y="1436"/>
                  </a:cubicBezTo>
                  <a:lnTo>
                    <a:pt x="865" y="1436"/>
                  </a:lnTo>
                  <a:lnTo>
                    <a:pt x="1602" y="774"/>
                  </a:lnTo>
                  <a:lnTo>
                    <a:pt x="1055" y="263"/>
                  </a:lnTo>
                  <a:cubicBezTo>
                    <a:pt x="1082" y="160"/>
                    <a:pt x="1022" y="56"/>
                    <a:pt x="919" y="28"/>
                  </a:cubicBezTo>
                  <a:cubicBezTo>
                    <a:pt x="816" y="0"/>
                    <a:pt x="712" y="61"/>
                    <a:pt x="684" y="164"/>
                  </a:cubicBezTo>
                  <a:cubicBezTo>
                    <a:pt x="656" y="266"/>
                    <a:pt x="717" y="371"/>
                    <a:pt x="819" y="399"/>
                  </a:cubicBezTo>
                  <a:cubicBezTo>
                    <a:pt x="837" y="402"/>
                    <a:pt x="854" y="404"/>
                    <a:pt x="870" y="40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1" name="Freeform 7"/>
            <p:cNvSpPr>
              <a:spLocks noChangeArrowheads="1"/>
            </p:cNvSpPr>
            <p:nvPr/>
          </p:nvSpPr>
          <p:spPr bwMode="auto">
            <a:xfrm>
              <a:off x="5251450" y="1489075"/>
              <a:ext cx="728663" cy="593725"/>
            </a:xfrm>
            <a:custGeom>
              <a:avLst/>
              <a:gdLst>
                <a:gd name="T0" fmla="*/ 1708 w 2025"/>
                <a:gd name="T1" fmla="*/ 392 h 1651"/>
                <a:gd name="T2" fmla="*/ 1708 w 2025"/>
                <a:gd name="T3" fmla="*/ 652 h 1651"/>
                <a:gd name="T4" fmla="*/ 974 w 2025"/>
                <a:gd name="T5" fmla="*/ 1329 h 1651"/>
                <a:gd name="T6" fmla="*/ 959 w 2025"/>
                <a:gd name="T7" fmla="*/ 1343 h 1651"/>
                <a:gd name="T8" fmla="*/ 394 w 2025"/>
                <a:gd name="T9" fmla="*/ 1343 h 1651"/>
                <a:gd name="T10" fmla="*/ 134 w 2025"/>
                <a:gd name="T11" fmla="*/ 1256 h 1651"/>
                <a:gd name="T12" fmla="*/ 48 w 2025"/>
                <a:gd name="T13" fmla="*/ 1516 h 1651"/>
                <a:gd name="T14" fmla="*/ 307 w 2025"/>
                <a:gd name="T15" fmla="*/ 1602 h 1651"/>
                <a:gd name="T16" fmla="*/ 394 w 2025"/>
                <a:gd name="T17" fmla="*/ 1516 h 1651"/>
                <a:gd name="T18" fmla="*/ 1029 w 2025"/>
                <a:gd name="T19" fmla="*/ 1516 h 1651"/>
                <a:gd name="T20" fmla="*/ 1882 w 2025"/>
                <a:gd name="T21" fmla="*/ 724 h 1651"/>
                <a:gd name="T22" fmla="*/ 1882 w 2025"/>
                <a:gd name="T23" fmla="*/ 399 h 1651"/>
                <a:gd name="T24" fmla="*/ 1981 w 2025"/>
                <a:gd name="T25" fmla="*/ 142 h 1651"/>
                <a:gd name="T26" fmla="*/ 1725 w 2025"/>
                <a:gd name="T27" fmla="*/ 43 h 1651"/>
                <a:gd name="T28" fmla="*/ 1625 w 2025"/>
                <a:gd name="T29" fmla="*/ 299 h 1651"/>
                <a:gd name="T30" fmla="*/ 1708 w 2025"/>
                <a:gd name="T31" fmla="*/ 392 h 1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25" h="1651">
                  <a:moveTo>
                    <a:pt x="1708" y="392"/>
                  </a:moveTo>
                  <a:lnTo>
                    <a:pt x="1708" y="652"/>
                  </a:lnTo>
                  <a:lnTo>
                    <a:pt x="974" y="1329"/>
                  </a:lnTo>
                  <a:lnTo>
                    <a:pt x="959" y="1343"/>
                  </a:lnTo>
                  <a:lnTo>
                    <a:pt x="394" y="1343"/>
                  </a:lnTo>
                  <a:cubicBezTo>
                    <a:pt x="346" y="1248"/>
                    <a:pt x="231" y="1209"/>
                    <a:pt x="134" y="1256"/>
                  </a:cubicBezTo>
                  <a:cubicBezTo>
                    <a:pt x="39" y="1303"/>
                    <a:pt x="0" y="1419"/>
                    <a:pt x="48" y="1516"/>
                  </a:cubicBezTo>
                  <a:cubicBezTo>
                    <a:pt x="95" y="1610"/>
                    <a:pt x="211" y="1650"/>
                    <a:pt x="307" y="1602"/>
                  </a:cubicBezTo>
                  <a:cubicBezTo>
                    <a:pt x="345" y="1584"/>
                    <a:pt x="374" y="1553"/>
                    <a:pt x="394" y="1516"/>
                  </a:cubicBezTo>
                  <a:lnTo>
                    <a:pt x="1029" y="1516"/>
                  </a:lnTo>
                  <a:lnTo>
                    <a:pt x="1882" y="724"/>
                  </a:lnTo>
                  <a:lnTo>
                    <a:pt x="1882" y="399"/>
                  </a:lnTo>
                  <a:cubicBezTo>
                    <a:pt x="1979" y="356"/>
                    <a:pt x="2024" y="242"/>
                    <a:pt x="1981" y="142"/>
                  </a:cubicBezTo>
                  <a:cubicBezTo>
                    <a:pt x="1939" y="44"/>
                    <a:pt x="1824" y="0"/>
                    <a:pt x="1725" y="43"/>
                  </a:cubicBezTo>
                  <a:cubicBezTo>
                    <a:pt x="1627" y="85"/>
                    <a:pt x="1583" y="199"/>
                    <a:pt x="1625" y="299"/>
                  </a:cubicBezTo>
                  <a:cubicBezTo>
                    <a:pt x="1643" y="340"/>
                    <a:pt x="1672" y="371"/>
                    <a:pt x="1708" y="39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2" name="Freeform 8"/>
            <p:cNvSpPr>
              <a:spLocks noChangeArrowheads="1"/>
            </p:cNvSpPr>
            <p:nvPr/>
          </p:nvSpPr>
          <p:spPr bwMode="auto">
            <a:xfrm>
              <a:off x="5748338" y="1885950"/>
              <a:ext cx="200025" cy="439738"/>
            </a:xfrm>
            <a:custGeom>
              <a:avLst/>
              <a:gdLst>
                <a:gd name="T0" fmla="*/ 268 w 556"/>
                <a:gd name="T1" fmla="*/ 406 h 1220"/>
                <a:gd name="T2" fmla="*/ 519 w 556"/>
                <a:gd name="T3" fmla="*/ 287 h 1220"/>
                <a:gd name="T4" fmla="*/ 400 w 556"/>
                <a:gd name="T5" fmla="*/ 35 h 1220"/>
                <a:gd name="T6" fmla="*/ 149 w 556"/>
                <a:gd name="T7" fmla="*/ 155 h 1220"/>
                <a:gd name="T8" fmla="*/ 147 w 556"/>
                <a:gd name="T9" fmla="*/ 282 h 1220"/>
                <a:gd name="T10" fmla="*/ 0 w 556"/>
                <a:gd name="T11" fmla="*/ 421 h 1220"/>
                <a:gd name="T12" fmla="*/ 0 w 556"/>
                <a:gd name="T13" fmla="*/ 854 h 1220"/>
                <a:gd name="T14" fmla="*/ 141 w 556"/>
                <a:gd name="T15" fmla="*/ 981 h 1220"/>
                <a:gd name="T16" fmla="*/ 299 w 556"/>
                <a:gd name="T17" fmla="*/ 1201 h 1220"/>
                <a:gd name="T18" fmla="*/ 519 w 556"/>
                <a:gd name="T19" fmla="*/ 1043 h 1220"/>
                <a:gd name="T20" fmla="*/ 361 w 556"/>
                <a:gd name="T21" fmla="*/ 822 h 1220"/>
                <a:gd name="T22" fmla="*/ 330 w 556"/>
                <a:gd name="T23" fmla="*/ 819 h 1220"/>
                <a:gd name="T24" fmla="*/ 243 w 556"/>
                <a:gd name="T25" fmla="*/ 840 h 1220"/>
                <a:gd name="T26" fmla="*/ 173 w 556"/>
                <a:gd name="T27" fmla="*/ 774 h 1220"/>
                <a:gd name="T28" fmla="*/ 173 w 556"/>
                <a:gd name="T29" fmla="*/ 494 h 1220"/>
                <a:gd name="T30" fmla="*/ 268 w 556"/>
                <a:gd name="T31" fmla="*/ 406 h 1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6" h="1220">
                  <a:moveTo>
                    <a:pt x="268" y="406"/>
                  </a:moveTo>
                  <a:cubicBezTo>
                    <a:pt x="371" y="442"/>
                    <a:pt x="482" y="388"/>
                    <a:pt x="519" y="287"/>
                  </a:cubicBezTo>
                  <a:cubicBezTo>
                    <a:pt x="555" y="184"/>
                    <a:pt x="502" y="73"/>
                    <a:pt x="400" y="35"/>
                  </a:cubicBezTo>
                  <a:cubicBezTo>
                    <a:pt x="297" y="0"/>
                    <a:pt x="186" y="53"/>
                    <a:pt x="149" y="155"/>
                  </a:cubicBezTo>
                  <a:cubicBezTo>
                    <a:pt x="134" y="195"/>
                    <a:pt x="134" y="240"/>
                    <a:pt x="147" y="282"/>
                  </a:cubicBezTo>
                  <a:lnTo>
                    <a:pt x="0" y="421"/>
                  </a:lnTo>
                  <a:lnTo>
                    <a:pt x="0" y="854"/>
                  </a:lnTo>
                  <a:lnTo>
                    <a:pt x="141" y="981"/>
                  </a:lnTo>
                  <a:cubicBezTo>
                    <a:pt x="123" y="1085"/>
                    <a:pt x="195" y="1185"/>
                    <a:pt x="299" y="1201"/>
                  </a:cubicBezTo>
                  <a:cubicBezTo>
                    <a:pt x="404" y="1219"/>
                    <a:pt x="503" y="1147"/>
                    <a:pt x="519" y="1043"/>
                  </a:cubicBezTo>
                  <a:cubicBezTo>
                    <a:pt x="537" y="938"/>
                    <a:pt x="466" y="839"/>
                    <a:pt x="361" y="822"/>
                  </a:cubicBezTo>
                  <a:cubicBezTo>
                    <a:pt x="351" y="821"/>
                    <a:pt x="340" y="819"/>
                    <a:pt x="330" y="819"/>
                  </a:cubicBezTo>
                  <a:cubicBezTo>
                    <a:pt x="301" y="819"/>
                    <a:pt x="270" y="826"/>
                    <a:pt x="243" y="840"/>
                  </a:cubicBezTo>
                  <a:lnTo>
                    <a:pt x="173" y="774"/>
                  </a:lnTo>
                  <a:lnTo>
                    <a:pt x="173" y="494"/>
                  </a:lnTo>
                  <a:lnTo>
                    <a:pt x="268" y="40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3" name="Freeform 9"/>
            <p:cNvSpPr>
              <a:spLocks noChangeArrowheads="1"/>
            </p:cNvSpPr>
            <p:nvPr/>
          </p:nvSpPr>
          <p:spPr bwMode="auto">
            <a:xfrm>
              <a:off x="6275388" y="2271713"/>
              <a:ext cx="239712" cy="444500"/>
            </a:xfrm>
            <a:custGeom>
              <a:avLst/>
              <a:gdLst>
                <a:gd name="T0" fmla="*/ 454 w 664"/>
                <a:gd name="T1" fmla="*/ 0 h 1234"/>
                <a:gd name="T2" fmla="*/ 261 w 664"/>
                <a:gd name="T3" fmla="*/ 191 h 1234"/>
                <a:gd name="T4" fmla="*/ 276 w 664"/>
                <a:gd name="T5" fmla="*/ 265 h 1234"/>
                <a:gd name="T6" fmla="*/ 134 w 664"/>
                <a:gd name="T7" fmla="*/ 399 h 1234"/>
                <a:gd name="T8" fmla="*/ 134 w 664"/>
                <a:gd name="T9" fmla="*/ 839 h 1234"/>
                <a:gd name="T10" fmla="*/ 47 w 664"/>
                <a:gd name="T11" fmla="*/ 1099 h 1234"/>
                <a:gd name="T12" fmla="*/ 307 w 664"/>
                <a:gd name="T13" fmla="*/ 1186 h 1234"/>
                <a:gd name="T14" fmla="*/ 393 w 664"/>
                <a:gd name="T15" fmla="*/ 926 h 1234"/>
                <a:gd name="T16" fmla="*/ 307 w 664"/>
                <a:gd name="T17" fmla="*/ 839 h 1234"/>
                <a:gd name="T18" fmla="*/ 307 w 664"/>
                <a:gd name="T19" fmla="*/ 474 h 1234"/>
                <a:gd name="T20" fmla="*/ 406 w 664"/>
                <a:gd name="T21" fmla="*/ 381 h 1234"/>
                <a:gd name="T22" fmla="*/ 638 w 664"/>
                <a:gd name="T23" fmla="*/ 237 h 1234"/>
                <a:gd name="T24" fmla="*/ 495 w 664"/>
                <a:gd name="T25" fmla="*/ 5 h 1234"/>
                <a:gd name="T26" fmla="*/ 454 w 664"/>
                <a:gd name="T27" fmla="*/ 0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4" h="1234">
                  <a:moveTo>
                    <a:pt x="454" y="0"/>
                  </a:moveTo>
                  <a:cubicBezTo>
                    <a:pt x="348" y="0"/>
                    <a:pt x="261" y="85"/>
                    <a:pt x="261" y="191"/>
                  </a:cubicBezTo>
                  <a:cubicBezTo>
                    <a:pt x="261" y="216"/>
                    <a:pt x="266" y="240"/>
                    <a:pt x="276" y="265"/>
                  </a:cubicBezTo>
                  <a:lnTo>
                    <a:pt x="134" y="399"/>
                  </a:lnTo>
                  <a:lnTo>
                    <a:pt x="134" y="839"/>
                  </a:lnTo>
                  <a:cubicBezTo>
                    <a:pt x="39" y="887"/>
                    <a:pt x="0" y="1003"/>
                    <a:pt x="47" y="1099"/>
                  </a:cubicBezTo>
                  <a:cubicBezTo>
                    <a:pt x="94" y="1194"/>
                    <a:pt x="210" y="1233"/>
                    <a:pt x="307" y="1186"/>
                  </a:cubicBezTo>
                  <a:cubicBezTo>
                    <a:pt x="401" y="1138"/>
                    <a:pt x="441" y="1022"/>
                    <a:pt x="393" y="926"/>
                  </a:cubicBezTo>
                  <a:cubicBezTo>
                    <a:pt x="375" y="888"/>
                    <a:pt x="344" y="859"/>
                    <a:pt x="307" y="839"/>
                  </a:cubicBezTo>
                  <a:lnTo>
                    <a:pt x="307" y="474"/>
                  </a:lnTo>
                  <a:lnTo>
                    <a:pt x="406" y="381"/>
                  </a:lnTo>
                  <a:cubicBezTo>
                    <a:pt x="509" y="405"/>
                    <a:pt x="614" y="341"/>
                    <a:pt x="638" y="237"/>
                  </a:cubicBezTo>
                  <a:cubicBezTo>
                    <a:pt x="663" y="132"/>
                    <a:pt x="599" y="29"/>
                    <a:pt x="495" y="5"/>
                  </a:cubicBezTo>
                  <a:cubicBezTo>
                    <a:pt x="480" y="2"/>
                    <a:pt x="467" y="0"/>
                    <a:pt x="454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4" name="Freeform 10"/>
            <p:cNvSpPr>
              <a:spLocks noChangeArrowheads="1"/>
            </p:cNvSpPr>
            <p:nvPr/>
          </p:nvSpPr>
          <p:spPr bwMode="auto">
            <a:xfrm>
              <a:off x="4929188" y="1463675"/>
              <a:ext cx="998537" cy="1862138"/>
            </a:xfrm>
            <a:custGeom>
              <a:avLst/>
              <a:gdLst>
                <a:gd name="T0" fmla="*/ 2640 w 2773"/>
                <a:gd name="T1" fmla="*/ 2836 h 5172"/>
                <a:gd name="T2" fmla="*/ 1770 w 2773"/>
                <a:gd name="T3" fmla="*/ 2026 h 5172"/>
                <a:gd name="T4" fmla="*/ 997 w 2773"/>
                <a:gd name="T5" fmla="*/ 2026 h 5172"/>
                <a:gd name="T6" fmla="*/ 305 w 2773"/>
                <a:gd name="T7" fmla="*/ 1380 h 5172"/>
                <a:gd name="T8" fmla="*/ 305 w 2773"/>
                <a:gd name="T9" fmla="*/ 390 h 5172"/>
                <a:gd name="T10" fmla="*/ 390 w 2773"/>
                <a:gd name="T11" fmla="*/ 132 h 5172"/>
                <a:gd name="T12" fmla="*/ 132 w 2773"/>
                <a:gd name="T13" fmla="*/ 47 h 5172"/>
                <a:gd name="T14" fmla="*/ 47 w 2773"/>
                <a:gd name="T15" fmla="*/ 305 h 5172"/>
                <a:gd name="T16" fmla="*/ 132 w 2773"/>
                <a:gd name="T17" fmla="*/ 390 h 5172"/>
                <a:gd name="T18" fmla="*/ 132 w 2773"/>
                <a:gd name="T19" fmla="*/ 1453 h 5172"/>
                <a:gd name="T20" fmla="*/ 925 w 2773"/>
                <a:gd name="T21" fmla="*/ 2198 h 5172"/>
                <a:gd name="T22" fmla="*/ 1699 w 2773"/>
                <a:gd name="T23" fmla="*/ 2198 h 5172"/>
                <a:gd name="T24" fmla="*/ 2465 w 2773"/>
                <a:gd name="T25" fmla="*/ 2910 h 5172"/>
                <a:gd name="T26" fmla="*/ 2465 w 2773"/>
                <a:gd name="T27" fmla="*/ 4778 h 5172"/>
                <a:gd name="T28" fmla="*/ 2379 w 2773"/>
                <a:gd name="T29" fmla="*/ 5037 h 5172"/>
                <a:gd name="T30" fmla="*/ 2638 w 2773"/>
                <a:gd name="T31" fmla="*/ 5124 h 5172"/>
                <a:gd name="T32" fmla="*/ 2725 w 2773"/>
                <a:gd name="T33" fmla="*/ 4864 h 5172"/>
                <a:gd name="T34" fmla="*/ 2638 w 2773"/>
                <a:gd name="T35" fmla="*/ 4778 h 5172"/>
                <a:gd name="T36" fmla="*/ 2640 w 2773"/>
                <a:gd name="T37" fmla="*/ 4778 h 5172"/>
                <a:gd name="T38" fmla="*/ 2640 w 2773"/>
                <a:gd name="T39" fmla="*/ 2836 h 5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3" h="5172">
                  <a:moveTo>
                    <a:pt x="2640" y="2836"/>
                  </a:moveTo>
                  <a:lnTo>
                    <a:pt x="1770" y="2026"/>
                  </a:lnTo>
                  <a:lnTo>
                    <a:pt x="997" y="2026"/>
                  </a:lnTo>
                  <a:lnTo>
                    <a:pt x="305" y="1380"/>
                  </a:lnTo>
                  <a:lnTo>
                    <a:pt x="305" y="390"/>
                  </a:lnTo>
                  <a:cubicBezTo>
                    <a:pt x="400" y="343"/>
                    <a:pt x="437" y="227"/>
                    <a:pt x="390" y="132"/>
                  </a:cubicBezTo>
                  <a:cubicBezTo>
                    <a:pt x="342" y="37"/>
                    <a:pt x="227" y="0"/>
                    <a:pt x="132" y="47"/>
                  </a:cubicBezTo>
                  <a:cubicBezTo>
                    <a:pt x="38" y="94"/>
                    <a:pt x="0" y="210"/>
                    <a:pt x="47" y="305"/>
                  </a:cubicBezTo>
                  <a:cubicBezTo>
                    <a:pt x="65" y="341"/>
                    <a:pt x="96" y="372"/>
                    <a:pt x="132" y="390"/>
                  </a:cubicBezTo>
                  <a:lnTo>
                    <a:pt x="132" y="1453"/>
                  </a:lnTo>
                  <a:lnTo>
                    <a:pt x="925" y="2198"/>
                  </a:lnTo>
                  <a:lnTo>
                    <a:pt x="1699" y="2198"/>
                  </a:lnTo>
                  <a:lnTo>
                    <a:pt x="2465" y="2910"/>
                  </a:lnTo>
                  <a:lnTo>
                    <a:pt x="2465" y="4778"/>
                  </a:lnTo>
                  <a:cubicBezTo>
                    <a:pt x="2371" y="4825"/>
                    <a:pt x="2331" y="4941"/>
                    <a:pt x="2379" y="5037"/>
                  </a:cubicBezTo>
                  <a:cubicBezTo>
                    <a:pt x="2426" y="5132"/>
                    <a:pt x="2542" y="5171"/>
                    <a:pt x="2638" y="5124"/>
                  </a:cubicBezTo>
                  <a:cubicBezTo>
                    <a:pt x="2733" y="5077"/>
                    <a:pt x="2772" y="4961"/>
                    <a:pt x="2725" y="4864"/>
                  </a:cubicBezTo>
                  <a:cubicBezTo>
                    <a:pt x="2707" y="4827"/>
                    <a:pt x="2676" y="4797"/>
                    <a:pt x="2638" y="4778"/>
                  </a:cubicBezTo>
                  <a:lnTo>
                    <a:pt x="2640" y="4778"/>
                  </a:lnTo>
                  <a:lnTo>
                    <a:pt x="2640" y="2836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5" name="Freeform 11"/>
            <p:cNvSpPr>
              <a:spLocks noChangeArrowheads="1"/>
            </p:cNvSpPr>
            <p:nvPr/>
          </p:nvSpPr>
          <p:spPr bwMode="auto">
            <a:xfrm>
              <a:off x="5930900" y="1577975"/>
              <a:ext cx="280988" cy="1128713"/>
            </a:xfrm>
            <a:custGeom>
              <a:avLst/>
              <a:gdLst>
                <a:gd name="T0" fmla="*/ 134 w 780"/>
                <a:gd name="T1" fmla="*/ 1308 h 3136"/>
                <a:gd name="T2" fmla="*/ 134 w 780"/>
                <a:gd name="T3" fmla="*/ 2742 h 3136"/>
                <a:gd name="T4" fmla="*/ 47 w 780"/>
                <a:gd name="T5" fmla="*/ 3002 h 3136"/>
                <a:gd name="T6" fmla="*/ 307 w 780"/>
                <a:gd name="T7" fmla="*/ 3088 h 3136"/>
                <a:gd name="T8" fmla="*/ 393 w 780"/>
                <a:gd name="T9" fmla="*/ 2828 h 3136"/>
                <a:gd name="T10" fmla="*/ 307 w 780"/>
                <a:gd name="T11" fmla="*/ 2742 h 3136"/>
                <a:gd name="T12" fmla="*/ 307 w 780"/>
                <a:gd name="T13" fmla="*/ 1385 h 3136"/>
                <a:gd name="T14" fmla="*/ 648 w 780"/>
                <a:gd name="T15" fmla="*/ 1062 h 3136"/>
                <a:gd name="T16" fmla="*/ 648 w 780"/>
                <a:gd name="T17" fmla="*/ 399 h 3136"/>
                <a:gd name="T18" fmla="*/ 627 w 780"/>
                <a:gd name="T19" fmla="*/ 399 h 3136"/>
                <a:gd name="T20" fmla="*/ 743 w 780"/>
                <a:gd name="T21" fmla="*/ 152 h 3136"/>
                <a:gd name="T22" fmla="*/ 496 w 780"/>
                <a:gd name="T23" fmla="*/ 36 h 3136"/>
                <a:gd name="T24" fmla="*/ 380 w 780"/>
                <a:gd name="T25" fmla="*/ 283 h 3136"/>
                <a:gd name="T26" fmla="*/ 496 w 780"/>
                <a:gd name="T27" fmla="*/ 399 h 3136"/>
                <a:gd name="T28" fmla="*/ 475 w 780"/>
                <a:gd name="T29" fmla="*/ 399 h 3136"/>
                <a:gd name="T30" fmla="*/ 475 w 780"/>
                <a:gd name="T31" fmla="*/ 988 h 3136"/>
                <a:gd name="T32" fmla="*/ 134 w 780"/>
                <a:gd name="T33" fmla="*/ 1308 h 3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0" h="3136">
                  <a:moveTo>
                    <a:pt x="134" y="1308"/>
                  </a:moveTo>
                  <a:lnTo>
                    <a:pt x="134" y="2742"/>
                  </a:lnTo>
                  <a:cubicBezTo>
                    <a:pt x="39" y="2789"/>
                    <a:pt x="0" y="2905"/>
                    <a:pt x="47" y="3002"/>
                  </a:cubicBezTo>
                  <a:cubicBezTo>
                    <a:pt x="94" y="3096"/>
                    <a:pt x="210" y="3135"/>
                    <a:pt x="307" y="3088"/>
                  </a:cubicBezTo>
                  <a:cubicBezTo>
                    <a:pt x="401" y="3041"/>
                    <a:pt x="441" y="2925"/>
                    <a:pt x="393" y="2828"/>
                  </a:cubicBezTo>
                  <a:cubicBezTo>
                    <a:pt x="375" y="2791"/>
                    <a:pt x="344" y="2762"/>
                    <a:pt x="307" y="2742"/>
                  </a:cubicBezTo>
                  <a:lnTo>
                    <a:pt x="307" y="1385"/>
                  </a:lnTo>
                  <a:lnTo>
                    <a:pt x="648" y="1062"/>
                  </a:lnTo>
                  <a:lnTo>
                    <a:pt x="648" y="399"/>
                  </a:lnTo>
                  <a:lnTo>
                    <a:pt x="627" y="399"/>
                  </a:lnTo>
                  <a:cubicBezTo>
                    <a:pt x="726" y="363"/>
                    <a:pt x="779" y="252"/>
                    <a:pt x="743" y="152"/>
                  </a:cubicBezTo>
                  <a:cubicBezTo>
                    <a:pt x="707" y="52"/>
                    <a:pt x="596" y="0"/>
                    <a:pt x="496" y="36"/>
                  </a:cubicBezTo>
                  <a:cubicBezTo>
                    <a:pt x="397" y="72"/>
                    <a:pt x="344" y="183"/>
                    <a:pt x="380" y="283"/>
                  </a:cubicBezTo>
                  <a:cubicBezTo>
                    <a:pt x="400" y="337"/>
                    <a:pt x="442" y="379"/>
                    <a:pt x="496" y="399"/>
                  </a:cubicBezTo>
                  <a:lnTo>
                    <a:pt x="475" y="399"/>
                  </a:lnTo>
                  <a:lnTo>
                    <a:pt x="475" y="988"/>
                  </a:lnTo>
                  <a:lnTo>
                    <a:pt x="134" y="130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6" name="Freeform 12"/>
            <p:cNvSpPr>
              <a:spLocks noChangeArrowheads="1"/>
            </p:cNvSpPr>
            <p:nvPr/>
          </p:nvSpPr>
          <p:spPr bwMode="auto">
            <a:xfrm>
              <a:off x="6515100" y="1920875"/>
              <a:ext cx="273050" cy="733425"/>
            </a:xfrm>
            <a:custGeom>
              <a:avLst/>
              <a:gdLst>
                <a:gd name="T0" fmla="*/ 754 w 757"/>
                <a:gd name="T1" fmla="*/ 193 h 2037"/>
                <a:gd name="T2" fmla="*/ 560 w 757"/>
                <a:gd name="T3" fmla="*/ 0 h 2037"/>
                <a:gd name="T4" fmla="*/ 367 w 757"/>
                <a:gd name="T5" fmla="*/ 194 h 2037"/>
                <a:gd name="T6" fmla="*/ 473 w 757"/>
                <a:gd name="T7" fmla="*/ 366 h 2037"/>
                <a:gd name="T8" fmla="*/ 473 w 757"/>
                <a:gd name="T9" fmla="*/ 1030 h 2037"/>
                <a:gd name="T10" fmla="*/ 132 w 757"/>
                <a:gd name="T11" fmla="*/ 1350 h 2037"/>
                <a:gd name="T12" fmla="*/ 132 w 757"/>
                <a:gd name="T13" fmla="*/ 1643 h 2037"/>
                <a:gd name="T14" fmla="*/ 137 w 757"/>
                <a:gd name="T15" fmla="*/ 1643 h 2037"/>
                <a:gd name="T16" fmla="*/ 44 w 757"/>
                <a:gd name="T17" fmla="*/ 1899 h 2037"/>
                <a:gd name="T18" fmla="*/ 300 w 757"/>
                <a:gd name="T19" fmla="*/ 1992 h 2037"/>
                <a:gd name="T20" fmla="*/ 393 w 757"/>
                <a:gd name="T21" fmla="*/ 1736 h 2037"/>
                <a:gd name="T22" fmla="*/ 300 w 757"/>
                <a:gd name="T23" fmla="*/ 1643 h 2037"/>
                <a:gd name="T24" fmla="*/ 305 w 757"/>
                <a:gd name="T25" fmla="*/ 1643 h 2037"/>
                <a:gd name="T26" fmla="*/ 305 w 757"/>
                <a:gd name="T27" fmla="*/ 1427 h 2037"/>
                <a:gd name="T28" fmla="*/ 646 w 757"/>
                <a:gd name="T29" fmla="*/ 1107 h 2037"/>
                <a:gd name="T30" fmla="*/ 646 w 757"/>
                <a:gd name="T31" fmla="*/ 366 h 2037"/>
                <a:gd name="T32" fmla="*/ 754 w 757"/>
                <a:gd name="T33" fmla="*/ 193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7" h="2037">
                  <a:moveTo>
                    <a:pt x="754" y="193"/>
                  </a:moveTo>
                  <a:cubicBezTo>
                    <a:pt x="754" y="86"/>
                    <a:pt x="668" y="0"/>
                    <a:pt x="560" y="0"/>
                  </a:cubicBezTo>
                  <a:cubicBezTo>
                    <a:pt x="454" y="0"/>
                    <a:pt x="367" y="86"/>
                    <a:pt x="367" y="194"/>
                  </a:cubicBezTo>
                  <a:cubicBezTo>
                    <a:pt x="367" y="268"/>
                    <a:pt x="408" y="333"/>
                    <a:pt x="473" y="366"/>
                  </a:cubicBezTo>
                  <a:lnTo>
                    <a:pt x="473" y="1030"/>
                  </a:lnTo>
                  <a:lnTo>
                    <a:pt x="132" y="1350"/>
                  </a:lnTo>
                  <a:lnTo>
                    <a:pt x="132" y="1643"/>
                  </a:lnTo>
                  <a:lnTo>
                    <a:pt x="137" y="1643"/>
                  </a:lnTo>
                  <a:cubicBezTo>
                    <a:pt x="40" y="1688"/>
                    <a:pt x="0" y="1803"/>
                    <a:pt x="44" y="1899"/>
                  </a:cubicBezTo>
                  <a:cubicBezTo>
                    <a:pt x="89" y="1995"/>
                    <a:pt x="204" y="2036"/>
                    <a:pt x="300" y="1992"/>
                  </a:cubicBezTo>
                  <a:cubicBezTo>
                    <a:pt x="396" y="1948"/>
                    <a:pt x="437" y="1832"/>
                    <a:pt x="393" y="1736"/>
                  </a:cubicBezTo>
                  <a:cubicBezTo>
                    <a:pt x="374" y="1695"/>
                    <a:pt x="341" y="1662"/>
                    <a:pt x="300" y="1643"/>
                  </a:cubicBezTo>
                  <a:lnTo>
                    <a:pt x="305" y="1643"/>
                  </a:lnTo>
                  <a:lnTo>
                    <a:pt x="305" y="1427"/>
                  </a:lnTo>
                  <a:lnTo>
                    <a:pt x="646" y="1107"/>
                  </a:lnTo>
                  <a:lnTo>
                    <a:pt x="646" y="366"/>
                  </a:lnTo>
                  <a:cubicBezTo>
                    <a:pt x="713" y="333"/>
                    <a:pt x="756" y="266"/>
                    <a:pt x="754" y="19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7" name="Freeform 13"/>
            <p:cNvSpPr>
              <a:spLocks noChangeArrowheads="1"/>
            </p:cNvSpPr>
            <p:nvPr/>
          </p:nvSpPr>
          <p:spPr bwMode="auto">
            <a:xfrm>
              <a:off x="5921375" y="2038350"/>
              <a:ext cx="573088" cy="1593850"/>
            </a:xfrm>
            <a:custGeom>
              <a:avLst/>
              <a:gdLst>
                <a:gd name="T0" fmla="*/ 1399 w 1593"/>
                <a:gd name="T1" fmla="*/ 385 h 4427"/>
                <a:gd name="T2" fmla="*/ 1592 w 1593"/>
                <a:gd name="T3" fmla="*/ 193 h 4427"/>
                <a:gd name="T4" fmla="*/ 1399 w 1593"/>
                <a:gd name="T5" fmla="*/ 0 h 4427"/>
                <a:gd name="T6" fmla="*/ 1206 w 1593"/>
                <a:gd name="T7" fmla="*/ 193 h 4427"/>
                <a:gd name="T8" fmla="*/ 1216 w 1593"/>
                <a:gd name="T9" fmla="*/ 250 h 4427"/>
                <a:gd name="T10" fmla="*/ 668 w 1593"/>
                <a:gd name="T11" fmla="*/ 769 h 4427"/>
                <a:gd name="T12" fmla="*/ 661 w 1593"/>
                <a:gd name="T13" fmla="*/ 1772 h 4427"/>
                <a:gd name="T14" fmla="*/ 142 w 1593"/>
                <a:gd name="T15" fmla="*/ 2281 h 4427"/>
                <a:gd name="T16" fmla="*/ 142 w 1593"/>
                <a:gd name="T17" fmla="*/ 4028 h 4427"/>
                <a:gd name="T18" fmla="*/ 44 w 1593"/>
                <a:gd name="T19" fmla="*/ 4284 h 4427"/>
                <a:gd name="T20" fmla="*/ 300 w 1593"/>
                <a:gd name="T21" fmla="*/ 4382 h 4427"/>
                <a:gd name="T22" fmla="*/ 398 w 1593"/>
                <a:gd name="T23" fmla="*/ 4125 h 4427"/>
                <a:gd name="T24" fmla="*/ 315 w 1593"/>
                <a:gd name="T25" fmla="*/ 4034 h 4427"/>
                <a:gd name="T26" fmla="*/ 315 w 1593"/>
                <a:gd name="T27" fmla="*/ 2353 h 4427"/>
                <a:gd name="T28" fmla="*/ 834 w 1593"/>
                <a:gd name="T29" fmla="*/ 1845 h 4427"/>
                <a:gd name="T30" fmla="*/ 841 w 1593"/>
                <a:gd name="T31" fmla="*/ 841 h 4427"/>
                <a:gd name="T32" fmla="*/ 1337 w 1593"/>
                <a:gd name="T33" fmla="*/ 374 h 4427"/>
                <a:gd name="T34" fmla="*/ 1399 w 1593"/>
                <a:gd name="T35" fmla="*/ 385 h 4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93" h="4427">
                  <a:moveTo>
                    <a:pt x="1399" y="385"/>
                  </a:moveTo>
                  <a:cubicBezTo>
                    <a:pt x="1505" y="385"/>
                    <a:pt x="1592" y="299"/>
                    <a:pt x="1592" y="193"/>
                  </a:cubicBezTo>
                  <a:cubicBezTo>
                    <a:pt x="1592" y="87"/>
                    <a:pt x="1505" y="0"/>
                    <a:pt x="1399" y="0"/>
                  </a:cubicBezTo>
                  <a:cubicBezTo>
                    <a:pt x="1293" y="0"/>
                    <a:pt x="1206" y="87"/>
                    <a:pt x="1206" y="193"/>
                  </a:cubicBezTo>
                  <a:cubicBezTo>
                    <a:pt x="1206" y="212"/>
                    <a:pt x="1210" y="232"/>
                    <a:pt x="1216" y="250"/>
                  </a:cubicBezTo>
                  <a:lnTo>
                    <a:pt x="668" y="769"/>
                  </a:lnTo>
                  <a:lnTo>
                    <a:pt x="661" y="1772"/>
                  </a:lnTo>
                  <a:lnTo>
                    <a:pt x="142" y="2281"/>
                  </a:lnTo>
                  <a:lnTo>
                    <a:pt x="142" y="4028"/>
                  </a:lnTo>
                  <a:cubicBezTo>
                    <a:pt x="44" y="4072"/>
                    <a:pt x="0" y="4186"/>
                    <a:pt x="44" y="4284"/>
                  </a:cubicBezTo>
                  <a:cubicBezTo>
                    <a:pt x="88" y="4382"/>
                    <a:pt x="202" y="4426"/>
                    <a:pt x="300" y="4382"/>
                  </a:cubicBezTo>
                  <a:cubicBezTo>
                    <a:pt x="398" y="4338"/>
                    <a:pt x="442" y="4223"/>
                    <a:pt x="398" y="4125"/>
                  </a:cubicBezTo>
                  <a:cubicBezTo>
                    <a:pt x="382" y="4086"/>
                    <a:pt x="352" y="4055"/>
                    <a:pt x="315" y="4034"/>
                  </a:cubicBezTo>
                  <a:lnTo>
                    <a:pt x="315" y="2353"/>
                  </a:lnTo>
                  <a:lnTo>
                    <a:pt x="834" y="1845"/>
                  </a:lnTo>
                  <a:lnTo>
                    <a:pt x="841" y="841"/>
                  </a:lnTo>
                  <a:lnTo>
                    <a:pt x="1337" y="374"/>
                  </a:lnTo>
                  <a:cubicBezTo>
                    <a:pt x="1355" y="381"/>
                    <a:pt x="1376" y="385"/>
                    <a:pt x="1399" y="38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8" name="Freeform 14"/>
            <p:cNvSpPr>
              <a:spLocks noChangeArrowheads="1"/>
            </p:cNvSpPr>
            <p:nvPr/>
          </p:nvSpPr>
          <p:spPr bwMode="auto">
            <a:xfrm>
              <a:off x="6142038" y="1693863"/>
              <a:ext cx="261937" cy="454025"/>
            </a:xfrm>
            <a:custGeom>
              <a:avLst/>
              <a:gdLst>
                <a:gd name="T0" fmla="*/ 727 w 728"/>
                <a:gd name="T1" fmla="*/ 192 h 1263"/>
                <a:gd name="T2" fmla="*/ 534 w 728"/>
                <a:gd name="T3" fmla="*/ 0 h 1263"/>
                <a:gd name="T4" fmla="*/ 342 w 728"/>
                <a:gd name="T5" fmla="*/ 192 h 1263"/>
                <a:gd name="T6" fmla="*/ 448 w 728"/>
                <a:gd name="T7" fmla="*/ 364 h 1263"/>
                <a:gd name="T8" fmla="*/ 448 w 728"/>
                <a:gd name="T9" fmla="*/ 754 h 1263"/>
                <a:gd name="T10" fmla="*/ 289 w 728"/>
                <a:gd name="T11" fmla="*/ 903 h 1263"/>
                <a:gd name="T12" fmla="*/ 193 w 728"/>
                <a:gd name="T13" fmla="*/ 876 h 1263"/>
                <a:gd name="T14" fmla="*/ 0 w 728"/>
                <a:gd name="T15" fmla="*/ 1069 h 1263"/>
                <a:gd name="T16" fmla="*/ 193 w 728"/>
                <a:gd name="T17" fmla="*/ 1262 h 1263"/>
                <a:gd name="T18" fmla="*/ 386 w 728"/>
                <a:gd name="T19" fmla="*/ 1069 h 1263"/>
                <a:gd name="T20" fmla="*/ 384 w 728"/>
                <a:gd name="T21" fmla="*/ 1051 h 1263"/>
                <a:gd name="T22" fmla="*/ 621 w 728"/>
                <a:gd name="T23" fmla="*/ 829 h 1263"/>
                <a:gd name="T24" fmla="*/ 621 w 728"/>
                <a:gd name="T25" fmla="*/ 364 h 1263"/>
                <a:gd name="T26" fmla="*/ 727 w 728"/>
                <a:gd name="T27" fmla="*/ 192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8" h="1263">
                  <a:moveTo>
                    <a:pt x="727" y="192"/>
                  </a:moveTo>
                  <a:cubicBezTo>
                    <a:pt x="727" y="86"/>
                    <a:pt x="640" y="0"/>
                    <a:pt x="534" y="0"/>
                  </a:cubicBezTo>
                  <a:cubicBezTo>
                    <a:pt x="428" y="0"/>
                    <a:pt x="342" y="86"/>
                    <a:pt x="342" y="192"/>
                  </a:cubicBezTo>
                  <a:cubicBezTo>
                    <a:pt x="342" y="267"/>
                    <a:pt x="386" y="333"/>
                    <a:pt x="448" y="364"/>
                  </a:cubicBezTo>
                  <a:lnTo>
                    <a:pt x="448" y="754"/>
                  </a:lnTo>
                  <a:lnTo>
                    <a:pt x="289" y="903"/>
                  </a:lnTo>
                  <a:cubicBezTo>
                    <a:pt x="262" y="886"/>
                    <a:pt x="229" y="876"/>
                    <a:pt x="193" y="876"/>
                  </a:cubicBezTo>
                  <a:cubicBezTo>
                    <a:pt x="87" y="876"/>
                    <a:pt x="0" y="963"/>
                    <a:pt x="0" y="1069"/>
                  </a:cubicBezTo>
                  <a:cubicBezTo>
                    <a:pt x="0" y="1175"/>
                    <a:pt x="87" y="1262"/>
                    <a:pt x="193" y="1262"/>
                  </a:cubicBezTo>
                  <a:cubicBezTo>
                    <a:pt x="299" y="1262"/>
                    <a:pt x="386" y="1175"/>
                    <a:pt x="386" y="1069"/>
                  </a:cubicBezTo>
                  <a:cubicBezTo>
                    <a:pt x="386" y="1063"/>
                    <a:pt x="384" y="1058"/>
                    <a:pt x="384" y="1051"/>
                  </a:cubicBezTo>
                  <a:lnTo>
                    <a:pt x="621" y="829"/>
                  </a:lnTo>
                  <a:lnTo>
                    <a:pt x="621" y="364"/>
                  </a:lnTo>
                  <a:cubicBezTo>
                    <a:pt x="683" y="333"/>
                    <a:pt x="727" y="267"/>
                    <a:pt x="727" y="19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0593261" y="4058559"/>
            <a:ext cx="593063" cy="516113"/>
            <a:chOff x="8834092" y="4167766"/>
            <a:chExt cx="1712913" cy="1490662"/>
          </a:xfrm>
        </p:grpSpPr>
        <p:sp>
          <p:nvSpPr>
            <p:cNvPr id="722" name="Freeform 18"/>
            <p:cNvSpPr>
              <a:spLocks noChangeArrowheads="1"/>
            </p:cNvSpPr>
            <p:nvPr/>
          </p:nvSpPr>
          <p:spPr bwMode="auto">
            <a:xfrm>
              <a:off x="8834092" y="4167766"/>
              <a:ext cx="1712913" cy="1339850"/>
            </a:xfrm>
            <a:custGeom>
              <a:avLst/>
              <a:gdLst>
                <a:gd name="T0" fmla="*/ 4759 w 4760"/>
                <a:gd name="T1" fmla="*/ 3395 h 3724"/>
                <a:gd name="T2" fmla="*/ 4449 w 4760"/>
                <a:gd name="T3" fmla="*/ 3723 h 3724"/>
                <a:gd name="T4" fmla="*/ 310 w 4760"/>
                <a:gd name="T5" fmla="*/ 3723 h 3724"/>
                <a:gd name="T6" fmla="*/ 0 w 4760"/>
                <a:gd name="T7" fmla="*/ 3395 h 3724"/>
                <a:gd name="T8" fmla="*/ 0 w 4760"/>
                <a:gd name="T9" fmla="*/ 328 h 3724"/>
                <a:gd name="T10" fmla="*/ 310 w 4760"/>
                <a:gd name="T11" fmla="*/ 0 h 3724"/>
                <a:gd name="T12" fmla="*/ 4449 w 4760"/>
                <a:gd name="T13" fmla="*/ 0 h 3724"/>
                <a:gd name="T14" fmla="*/ 4759 w 4760"/>
                <a:gd name="T15" fmla="*/ 328 h 3724"/>
                <a:gd name="T16" fmla="*/ 4759 w 4760"/>
                <a:gd name="T17" fmla="*/ 3395 h 3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0" h="3724">
                  <a:moveTo>
                    <a:pt x="4759" y="3395"/>
                  </a:moveTo>
                  <a:cubicBezTo>
                    <a:pt x="4759" y="3576"/>
                    <a:pt x="4620" y="3723"/>
                    <a:pt x="4449" y="3723"/>
                  </a:cubicBezTo>
                  <a:lnTo>
                    <a:pt x="310" y="3723"/>
                  </a:lnTo>
                  <a:cubicBezTo>
                    <a:pt x="139" y="3723"/>
                    <a:pt x="0" y="3576"/>
                    <a:pt x="0" y="3395"/>
                  </a:cubicBezTo>
                  <a:lnTo>
                    <a:pt x="0" y="328"/>
                  </a:lnTo>
                  <a:cubicBezTo>
                    <a:pt x="0" y="147"/>
                    <a:pt x="139" y="0"/>
                    <a:pt x="310" y="0"/>
                  </a:cubicBezTo>
                  <a:lnTo>
                    <a:pt x="4449" y="0"/>
                  </a:lnTo>
                  <a:cubicBezTo>
                    <a:pt x="4620" y="0"/>
                    <a:pt x="4759" y="147"/>
                    <a:pt x="4759" y="328"/>
                  </a:cubicBezTo>
                  <a:lnTo>
                    <a:pt x="4759" y="3395"/>
                  </a:lnTo>
                </a:path>
              </a:pathLst>
            </a:cu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3" name="Line 19"/>
            <p:cNvSpPr>
              <a:spLocks noChangeShapeType="1"/>
            </p:cNvSpPr>
            <p:nvPr/>
          </p:nvSpPr>
          <p:spPr bwMode="auto">
            <a:xfrm>
              <a:off x="9169055" y="5656841"/>
              <a:ext cx="1042987" cy="1587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4" name="Line 20"/>
            <p:cNvSpPr>
              <a:spLocks noChangeShapeType="1"/>
            </p:cNvSpPr>
            <p:nvPr/>
          </p:nvSpPr>
          <p:spPr bwMode="auto">
            <a:xfrm>
              <a:off x="9653242" y="5509203"/>
              <a:ext cx="1588" cy="149225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5" name="Freeform 21"/>
            <p:cNvSpPr>
              <a:spLocks noChangeArrowheads="1"/>
            </p:cNvSpPr>
            <p:nvPr/>
          </p:nvSpPr>
          <p:spPr bwMode="auto">
            <a:xfrm>
              <a:off x="9653242" y="5321878"/>
              <a:ext cx="74613" cy="74613"/>
            </a:xfrm>
            <a:custGeom>
              <a:avLst/>
              <a:gdLst>
                <a:gd name="T0" fmla="*/ 205 w 206"/>
                <a:gd name="T1" fmla="*/ 103 h 207"/>
                <a:gd name="T2" fmla="*/ 192 w 206"/>
                <a:gd name="T3" fmla="*/ 155 h 207"/>
                <a:gd name="T4" fmla="*/ 154 w 206"/>
                <a:gd name="T5" fmla="*/ 192 h 207"/>
                <a:gd name="T6" fmla="*/ 103 w 206"/>
                <a:gd name="T7" fmla="*/ 206 h 207"/>
                <a:gd name="T8" fmla="*/ 51 w 206"/>
                <a:gd name="T9" fmla="*/ 192 h 207"/>
                <a:gd name="T10" fmla="*/ 13 w 206"/>
                <a:gd name="T11" fmla="*/ 155 h 207"/>
                <a:gd name="T12" fmla="*/ 0 w 206"/>
                <a:gd name="T13" fmla="*/ 103 h 207"/>
                <a:gd name="T14" fmla="*/ 13 w 206"/>
                <a:gd name="T15" fmla="*/ 52 h 207"/>
                <a:gd name="T16" fmla="*/ 51 w 206"/>
                <a:gd name="T17" fmla="*/ 14 h 207"/>
                <a:gd name="T18" fmla="*/ 103 w 206"/>
                <a:gd name="T19" fmla="*/ 0 h 207"/>
                <a:gd name="T20" fmla="*/ 154 w 206"/>
                <a:gd name="T21" fmla="*/ 14 h 207"/>
                <a:gd name="T22" fmla="*/ 192 w 206"/>
                <a:gd name="T23" fmla="*/ 52 h 207"/>
                <a:gd name="T24" fmla="*/ 205 w 206"/>
                <a:gd name="T25" fmla="*/ 10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6" h="207">
                  <a:moveTo>
                    <a:pt x="205" y="103"/>
                  </a:moveTo>
                  <a:cubicBezTo>
                    <a:pt x="205" y="122"/>
                    <a:pt x="201" y="139"/>
                    <a:pt x="192" y="155"/>
                  </a:cubicBezTo>
                  <a:cubicBezTo>
                    <a:pt x="182" y="172"/>
                    <a:pt x="170" y="183"/>
                    <a:pt x="154" y="192"/>
                  </a:cubicBezTo>
                  <a:cubicBezTo>
                    <a:pt x="138" y="202"/>
                    <a:pt x="121" y="206"/>
                    <a:pt x="103" y="206"/>
                  </a:cubicBezTo>
                  <a:cubicBezTo>
                    <a:pt x="84" y="206"/>
                    <a:pt x="67" y="202"/>
                    <a:pt x="51" y="192"/>
                  </a:cubicBezTo>
                  <a:cubicBezTo>
                    <a:pt x="35" y="183"/>
                    <a:pt x="22" y="172"/>
                    <a:pt x="13" y="155"/>
                  </a:cubicBezTo>
                  <a:cubicBezTo>
                    <a:pt x="3" y="139"/>
                    <a:pt x="0" y="122"/>
                    <a:pt x="0" y="103"/>
                  </a:cubicBezTo>
                  <a:cubicBezTo>
                    <a:pt x="0" y="84"/>
                    <a:pt x="3" y="69"/>
                    <a:pt x="13" y="52"/>
                  </a:cubicBezTo>
                  <a:cubicBezTo>
                    <a:pt x="22" y="36"/>
                    <a:pt x="35" y="24"/>
                    <a:pt x="51" y="14"/>
                  </a:cubicBezTo>
                  <a:cubicBezTo>
                    <a:pt x="67" y="5"/>
                    <a:pt x="84" y="0"/>
                    <a:pt x="103" y="0"/>
                  </a:cubicBezTo>
                  <a:cubicBezTo>
                    <a:pt x="121" y="0"/>
                    <a:pt x="138" y="5"/>
                    <a:pt x="154" y="14"/>
                  </a:cubicBezTo>
                  <a:cubicBezTo>
                    <a:pt x="170" y="24"/>
                    <a:pt x="182" y="36"/>
                    <a:pt x="192" y="52"/>
                  </a:cubicBezTo>
                  <a:cubicBezTo>
                    <a:pt x="201" y="69"/>
                    <a:pt x="205" y="84"/>
                    <a:pt x="205" y="103"/>
                  </a:cubicBezTo>
                </a:path>
              </a:pathLst>
            </a:cu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6" name="Line 22"/>
            <p:cNvSpPr>
              <a:spLocks noChangeShapeType="1"/>
            </p:cNvSpPr>
            <p:nvPr/>
          </p:nvSpPr>
          <p:spPr bwMode="auto">
            <a:xfrm>
              <a:off x="8834092" y="5210753"/>
              <a:ext cx="1712913" cy="1588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7" name="Freeform 23"/>
            <p:cNvSpPr>
              <a:spLocks noChangeArrowheads="1"/>
            </p:cNvSpPr>
            <p:nvPr/>
          </p:nvSpPr>
          <p:spPr bwMode="auto">
            <a:xfrm>
              <a:off x="9019830" y="4316991"/>
              <a:ext cx="746125" cy="746125"/>
            </a:xfrm>
            <a:custGeom>
              <a:avLst/>
              <a:gdLst>
                <a:gd name="T0" fmla="*/ 2071 w 2072"/>
                <a:gd name="T1" fmla="*/ 1036 h 2072"/>
                <a:gd name="T2" fmla="*/ 1932 w 2072"/>
                <a:gd name="T3" fmla="*/ 1553 h 2072"/>
                <a:gd name="T4" fmla="*/ 1553 w 2072"/>
                <a:gd name="T5" fmla="*/ 1932 h 2072"/>
                <a:gd name="T6" fmla="*/ 1036 w 2072"/>
                <a:gd name="T7" fmla="*/ 2071 h 2072"/>
                <a:gd name="T8" fmla="*/ 518 w 2072"/>
                <a:gd name="T9" fmla="*/ 1932 h 2072"/>
                <a:gd name="T10" fmla="*/ 139 w 2072"/>
                <a:gd name="T11" fmla="*/ 1553 h 2072"/>
                <a:gd name="T12" fmla="*/ 0 w 2072"/>
                <a:gd name="T13" fmla="*/ 1036 h 2072"/>
                <a:gd name="T14" fmla="*/ 139 w 2072"/>
                <a:gd name="T15" fmla="*/ 518 h 2072"/>
                <a:gd name="T16" fmla="*/ 518 w 2072"/>
                <a:gd name="T17" fmla="*/ 139 h 2072"/>
                <a:gd name="T18" fmla="*/ 1036 w 2072"/>
                <a:gd name="T19" fmla="*/ 0 h 2072"/>
                <a:gd name="T20" fmla="*/ 1553 w 2072"/>
                <a:gd name="T21" fmla="*/ 139 h 2072"/>
                <a:gd name="T22" fmla="*/ 1932 w 2072"/>
                <a:gd name="T23" fmla="*/ 518 h 2072"/>
                <a:gd name="T24" fmla="*/ 2071 w 2072"/>
                <a:gd name="T25" fmla="*/ 1036 h 2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72" h="2072">
                  <a:moveTo>
                    <a:pt x="2071" y="1036"/>
                  </a:moveTo>
                  <a:cubicBezTo>
                    <a:pt x="2071" y="1226"/>
                    <a:pt x="2027" y="1388"/>
                    <a:pt x="1932" y="1553"/>
                  </a:cubicBezTo>
                  <a:cubicBezTo>
                    <a:pt x="1837" y="1718"/>
                    <a:pt x="1718" y="1837"/>
                    <a:pt x="1553" y="1932"/>
                  </a:cubicBezTo>
                  <a:cubicBezTo>
                    <a:pt x="1388" y="2028"/>
                    <a:pt x="1226" y="2071"/>
                    <a:pt x="1036" y="2071"/>
                  </a:cubicBezTo>
                  <a:cubicBezTo>
                    <a:pt x="845" y="2071"/>
                    <a:pt x="683" y="2028"/>
                    <a:pt x="518" y="1932"/>
                  </a:cubicBezTo>
                  <a:cubicBezTo>
                    <a:pt x="353" y="1837"/>
                    <a:pt x="234" y="1718"/>
                    <a:pt x="139" y="1553"/>
                  </a:cubicBezTo>
                  <a:cubicBezTo>
                    <a:pt x="44" y="1388"/>
                    <a:pt x="0" y="1227"/>
                    <a:pt x="0" y="1036"/>
                  </a:cubicBezTo>
                  <a:cubicBezTo>
                    <a:pt x="0" y="846"/>
                    <a:pt x="44" y="683"/>
                    <a:pt x="139" y="518"/>
                  </a:cubicBezTo>
                  <a:cubicBezTo>
                    <a:pt x="234" y="353"/>
                    <a:pt x="353" y="234"/>
                    <a:pt x="518" y="139"/>
                  </a:cubicBezTo>
                  <a:cubicBezTo>
                    <a:pt x="683" y="44"/>
                    <a:pt x="845" y="0"/>
                    <a:pt x="1036" y="0"/>
                  </a:cubicBezTo>
                  <a:cubicBezTo>
                    <a:pt x="1226" y="0"/>
                    <a:pt x="1388" y="44"/>
                    <a:pt x="1553" y="139"/>
                  </a:cubicBezTo>
                  <a:cubicBezTo>
                    <a:pt x="1718" y="234"/>
                    <a:pt x="1837" y="353"/>
                    <a:pt x="1932" y="518"/>
                  </a:cubicBezTo>
                  <a:cubicBezTo>
                    <a:pt x="2027" y="683"/>
                    <a:pt x="2071" y="845"/>
                    <a:pt x="2071" y="1036"/>
                  </a:cubicBezTo>
                </a:path>
              </a:pathLst>
            </a:cu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8" name="Freeform 24"/>
            <p:cNvSpPr>
              <a:spLocks noChangeArrowheads="1"/>
            </p:cNvSpPr>
            <p:nvPr/>
          </p:nvSpPr>
          <p:spPr bwMode="auto">
            <a:xfrm>
              <a:off x="9392892" y="4382078"/>
              <a:ext cx="239713" cy="593725"/>
            </a:xfrm>
            <a:custGeom>
              <a:avLst/>
              <a:gdLst>
                <a:gd name="T0" fmla="*/ 584 w 664"/>
                <a:gd name="T1" fmla="*/ 0 h 1648"/>
                <a:gd name="T2" fmla="*/ 0 w 664"/>
                <a:gd name="T3" fmla="*/ 854 h 1648"/>
                <a:gd name="T4" fmla="*/ 663 w 664"/>
                <a:gd name="T5" fmla="*/ 1647 h 1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4" h="1648">
                  <a:moveTo>
                    <a:pt x="584" y="0"/>
                  </a:moveTo>
                  <a:lnTo>
                    <a:pt x="0" y="854"/>
                  </a:lnTo>
                  <a:lnTo>
                    <a:pt x="663" y="1647"/>
                  </a:lnTo>
                </a:path>
              </a:pathLst>
            </a:cu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9" name="Line 25"/>
            <p:cNvSpPr>
              <a:spLocks noChangeShapeType="1"/>
            </p:cNvSpPr>
            <p:nvPr/>
          </p:nvSpPr>
          <p:spPr bwMode="auto">
            <a:xfrm flipH="1">
              <a:off x="9018242" y="4690053"/>
              <a:ext cx="376238" cy="1588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0" name="Line 26"/>
            <p:cNvSpPr>
              <a:spLocks noChangeShapeType="1"/>
            </p:cNvSpPr>
            <p:nvPr/>
          </p:nvSpPr>
          <p:spPr bwMode="auto">
            <a:xfrm>
              <a:off x="9913592" y="4391603"/>
              <a:ext cx="446088" cy="1588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1" name="Line 27"/>
            <p:cNvSpPr>
              <a:spLocks noChangeShapeType="1"/>
            </p:cNvSpPr>
            <p:nvPr/>
          </p:nvSpPr>
          <p:spPr bwMode="auto">
            <a:xfrm flipV="1">
              <a:off x="9913592" y="4612435"/>
              <a:ext cx="466787" cy="3007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2" name="Line 28"/>
            <p:cNvSpPr>
              <a:spLocks noChangeShapeType="1"/>
            </p:cNvSpPr>
            <p:nvPr/>
          </p:nvSpPr>
          <p:spPr bwMode="auto">
            <a:xfrm>
              <a:off x="9913592" y="4837691"/>
              <a:ext cx="446088" cy="1587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98E8BCA7-2A46-4A58-9095-668169DA9494}"/>
              </a:ext>
            </a:extLst>
          </p:cNvPr>
          <p:cNvSpPr/>
          <p:nvPr/>
        </p:nvSpPr>
        <p:spPr>
          <a:xfrm>
            <a:off x="1029082" y="3106875"/>
            <a:ext cx="471885" cy="2388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4EAEEADD-8CE1-443A-B935-7EE499FFAD45}"/>
              </a:ext>
            </a:extLst>
          </p:cNvPr>
          <p:cNvGrpSpPr/>
          <p:nvPr/>
        </p:nvGrpSpPr>
        <p:grpSpPr>
          <a:xfrm>
            <a:off x="1026957" y="3943993"/>
            <a:ext cx="476134" cy="467582"/>
            <a:chOff x="2549926" y="1227604"/>
            <a:chExt cx="5177116" cy="5084148"/>
          </a:xfrm>
        </p:grpSpPr>
        <p:sp>
          <p:nvSpPr>
            <p:cNvPr id="205" name="Freeform: Shape 583">
              <a:extLst>
                <a:ext uri="{FF2B5EF4-FFF2-40B4-BE49-F238E27FC236}">
                  <a16:creationId xmlns:a16="http://schemas.microsoft.com/office/drawing/2014/main" id="{F2B35AA8-8718-4590-A107-3CFFCFB74F8C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A3043977-89CB-4A95-A293-16F283986B94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7829CCA2-178D-4D6B-9FC5-2630A342B21D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22563FEF-DAD4-4A23-BB45-EAC541594376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BDED1F1B-F2B0-4F8B-BFAD-0BAD3388FE23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D936F1BB-B5F7-4834-A484-F4A349C3F6CA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68FB4239-4769-4815-B8FE-88E8D3A8B968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2" name="Cylinder 590">
              <a:extLst>
                <a:ext uri="{FF2B5EF4-FFF2-40B4-BE49-F238E27FC236}">
                  <a16:creationId xmlns:a16="http://schemas.microsoft.com/office/drawing/2014/main" id="{34C16495-DC70-480D-ADF0-7781670E2479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accent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62F33"/>
                </a:soli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057440" y="5042294"/>
            <a:ext cx="415168" cy="307754"/>
            <a:chOff x="-2575176" y="-1203590"/>
            <a:chExt cx="3082012" cy="2284628"/>
          </a:xfrm>
          <a:solidFill>
            <a:schemeClr val="accent1"/>
          </a:solidFill>
        </p:grpSpPr>
        <p:sp>
          <p:nvSpPr>
            <p:cNvPr id="214" name="Freeform 42"/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5" name="Freeform 43"/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6" name="Freeform 44"/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7" name="Freeform 45"/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DE98A571-5A30-4C43-8EC9-BBE5278533B5}"/>
              </a:ext>
            </a:extLst>
          </p:cNvPr>
          <p:cNvGrpSpPr/>
          <p:nvPr/>
        </p:nvGrpSpPr>
        <p:grpSpPr>
          <a:xfrm>
            <a:off x="10651930" y="2933595"/>
            <a:ext cx="496622" cy="378062"/>
            <a:chOff x="2502877" y="2643553"/>
            <a:chExt cx="3651737" cy="2779942"/>
          </a:xfrm>
        </p:grpSpPr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AA201B79-48DF-4CE1-A660-76EE2C933301}"/>
                </a:ext>
              </a:extLst>
            </p:cNvPr>
            <p:cNvCxnSpPr>
              <a:cxnSpLocks/>
            </p:cNvCxnSpPr>
            <p:nvPr/>
          </p:nvCxnSpPr>
          <p:spPr>
            <a:xfrm>
              <a:off x="3303655" y="4505747"/>
              <a:ext cx="0" cy="917748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Straight Connector 319">
              <a:extLst>
                <a:ext uri="{FF2B5EF4-FFF2-40B4-BE49-F238E27FC236}">
                  <a16:creationId xmlns:a16="http://schemas.microsoft.com/office/drawing/2014/main" id="{87DFF8DA-748D-4A42-A1BC-3EA296E54544}"/>
                </a:ext>
              </a:extLst>
            </p:cNvPr>
            <p:cNvCxnSpPr>
              <a:cxnSpLocks/>
            </p:cNvCxnSpPr>
            <p:nvPr/>
          </p:nvCxnSpPr>
          <p:spPr>
            <a:xfrm>
              <a:off x="3983069" y="3734649"/>
              <a:ext cx="0" cy="1688846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Straight Connector 320">
              <a:extLst>
                <a:ext uri="{FF2B5EF4-FFF2-40B4-BE49-F238E27FC236}">
                  <a16:creationId xmlns:a16="http://schemas.microsoft.com/office/drawing/2014/main" id="{1A88BE1F-D84C-49A8-AD37-F96D49F689A6}"/>
                </a:ext>
              </a:extLst>
            </p:cNvPr>
            <p:cNvCxnSpPr>
              <a:cxnSpLocks/>
            </p:cNvCxnSpPr>
            <p:nvPr/>
          </p:nvCxnSpPr>
          <p:spPr>
            <a:xfrm>
              <a:off x="4662482" y="4051603"/>
              <a:ext cx="0" cy="1371892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19F5BE5D-B2E8-4AE9-98BD-5CB0BFF18C6D}"/>
                </a:ext>
              </a:extLst>
            </p:cNvPr>
            <p:cNvCxnSpPr>
              <a:cxnSpLocks/>
            </p:cNvCxnSpPr>
            <p:nvPr/>
          </p:nvCxnSpPr>
          <p:spPr>
            <a:xfrm>
              <a:off x="5330632" y="3185667"/>
              <a:ext cx="0" cy="2237828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3" name="Freeform: Shape 581">
              <a:extLst>
                <a:ext uri="{FF2B5EF4-FFF2-40B4-BE49-F238E27FC236}">
                  <a16:creationId xmlns:a16="http://schemas.microsoft.com/office/drawing/2014/main" id="{7FD3112F-1B1F-4DA6-A031-491CA8167398}"/>
                </a:ext>
              </a:extLst>
            </p:cNvPr>
            <p:cNvSpPr/>
            <p:nvPr/>
          </p:nvSpPr>
          <p:spPr bwMode="auto">
            <a:xfrm>
              <a:off x="2502877" y="2643553"/>
              <a:ext cx="3651737" cy="2288931"/>
            </a:xfrm>
            <a:custGeom>
              <a:avLst/>
              <a:gdLst>
                <a:gd name="connsiteX0" fmla="*/ 396145 w 3651737"/>
                <a:gd name="connsiteY0" fmla="*/ 0 h 2582009"/>
                <a:gd name="connsiteX1" fmla="*/ 3255592 w 3651737"/>
                <a:gd name="connsiteY1" fmla="*/ 0 h 2582009"/>
                <a:gd name="connsiteX2" fmla="*/ 3651737 w 3651737"/>
                <a:gd name="connsiteY2" fmla="*/ 396145 h 2582009"/>
                <a:gd name="connsiteX3" fmla="*/ 3651737 w 3651737"/>
                <a:gd name="connsiteY3" fmla="*/ 1892786 h 2582009"/>
                <a:gd name="connsiteX4" fmla="*/ 3255592 w 3651737"/>
                <a:gd name="connsiteY4" fmla="*/ 2288931 h 2582009"/>
                <a:gd name="connsiteX5" fmla="*/ 3196003 w 3651737"/>
                <a:gd name="connsiteY5" fmla="*/ 2288931 h 2582009"/>
                <a:gd name="connsiteX6" fmla="*/ 3196003 w 3651737"/>
                <a:gd name="connsiteY6" fmla="*/ 2582009 h 2582009"/>
                <a:gd name="connsiteX7" fmla="*/ 455734 w 3651737"/>
                <a:gd name="connsiteY7" fmla="*/ 2582009 h 2582009"/>
                <a:gd name="connsiteX8" fmla="*/ 455734 w 3651737"/>
                <a:gd name="connsiteY8" fmla="*/ 2288931 h 2582009"/>
                <a:gd name="connsiteX9" fmla="*/ 396145 w 3651737"/>
                <a:gd name="connsiteY9" fmla="*/ 2288931 h 2582009"/>
                <a:gd name="connsiteX10" fmla="*/ 0 w 3651737"/>
                <a:gd name="connsiteY10" fmla="*/ 1892786 h 2582009"/>
                <a:gd name="connsiteX11" fmla="*/ 0 w 3651737"/>
                <a:gd name="connsiteY11" fmla="*/ 396145 h 2582009"/>
                <a:gd name="connsiteX12" fmla="*/ 396145 w 3651737"/>
                <a:gd name="connsiteY12" fmla="*/ 0 h 2582009"/>
                <a:gd name="connsiteX0" fmla="*/ 455734 w 3651737"/>
                <a:gd name="connsiteY0" fmla="*/ 2582009 h 2673449"/>
                <a:gd name="connsiteX1" fmla="*/ 455734 w 3651737"/>
                <a:gd name="connsiteY1" fmla="*/ 2288931 h 2673449"/>
                <a:gd name="connsiteX2" fmla="*/ 396145 w 3651737"/>
                <a:gd name="connsiteY2" fmla="*/ 2288931 h 2673449"/>
                <a:gd name="connsiteX3" fmla="*/ 0 w 3651737"/>
                <a:gd name="connsiteY3" fmla="*/ 1892786 h 2673449"/>
                <a:gd name="connsiteX4" fmla="*/ 0 w 3651737"/>
                <a:gd name="connsiteY4" fmla="*/ 396145 h 2673449"/>
                <a:gd name="connsiteX5" fmla="*/ 396145 w 3651737"/>
                <a:gd name="connsiteY5" fmla="*/ 0 h 2673449"/>
                <a:gd name="connsiteX6" fmla="*/ 3255592 w 3651737"/>
                <a:gd name="connsiteY6" fmla="*/ 0 h 2673449"/>
                <a:gd name="connsiteX7" fmla="*/ 3651737 w 3651737"/>
                <a:gd name="connsiteY7" fmla="*/ 396145 h 2673449"/>
                <a:gd name="connsiteX8" fmla="*/ 3651737 w 3651737"/>
                <a:gd name="connsiteY8" fmla="*/ 1892786 h 2673449"/>
                <a:gd name="connsiteX9" fmla="*/ 3255592 w 3651737"/>
                <a:gd name="connsiteY9" fmla="*/ 2288931 h 2673449"/>
                <a:gd name="connsiteX10" fmla="*/ 3196003 w 3651737"/>
                <a:gd name="connsiteY10" fmla="*/ 2288931 h 2673449"/>
                <a:gd name="connsiteX11" fmla="*/ 3196003 w 3651737"/>
                <a:gd name="connsiteY11" fmla="*/ 2582009 h 2673449"/>
                <a:gd name="connsiteX12" fmla="*/ 547174 w 3651737"/>
                <a:gd name="connsiteY12" fmla="*/ 2673449 h 2673449"/>
                <a:gd name="connsiteX0" fmla="*/ 455734 w 3651737"/>
                <a:gd name="connsiteY0" fmla="*/ 2582009 h 2582009"/>
                <a:gd name="connsiteX1" fmla="*/ 455734 w 3651737"/>
                <a:gd name="connsiteY1" fmla="*/ 2288931 h 2582009"/>
                <a:gd name="connsiteX2" fmla="*/ 396145 w 3651737"/>
                <a:gd name="connsiteY2" fmla="*/ 2288931 h 2582009"/>
                <a:gd name="connsiteX3" fmla="*/ 0 w 3651737"/>
                <a:gd name="connsiteY3" fmla="*/ 1892786 h 2582009"/>
                <a:gd name="connsiteX4" fmla="*/ 0 w 3651737"/>
                <a:gd name="connsiteY4" fmla="*/ 396145 h 2582009"/>
                <a:gd name="connsiteX5" fmla="*/ 396145 w 3651737"/>
                <a:gd name="connsiteY5" fmla="*/ 0 h 2582009"/>
                <a:gd name="connsiteX6" fmla="*/ 3255592 w 3651737"/>
                <a:gd name="connsiteY6" fmla="*/ 0 h 2582009"/>
                <a:gd name="connsiteX7" fmla="*/ 3651737 w 3651737"/>
                <a:gd name="connsiteY7" fmla="*/ 396145 h 2582009"/>
                <a:gd name="connsiteX8" fmla="*/ 3651737 w 3651737"/>
                <a:gd name="connsiteY8" fmla="*/ 1892786 h 2582009"/>
                <a:gd name="connsiteX9" fmla="*/ 3255592 w 3651737"/>
                <a:gd name="connsiteY9" fmla="*/ 2288931 h 2582009"/>
                <a:gd name="connsiteX10" fmla="*/ 3196003 w 3651737"/>
                <a:gd name="connsiteY10" fmla="*/ 2288931 h 2582009"/>
                <a:gd name="connsiteX11" fmla="*/ 3196003 w 3651737"/>
                <a:gd name="connsiteY11" fmla="*/ 2582009 h 2582009"/>
                <a:gd name="connsiteX0" fmla="*/ 455734 w 3651737"/>
                <a:gd name="connsiteY0" fmla="*/ 2288931 h 2582009"/>
                <a:gd name="connsiteX1" fmla="*/ 396145 w 3651737"/>
                <a:gd name="connsiteY1" fmla="*/ 2288931 h 2582009"/>
                <a:gd name="connsiteX2" fmla="*/ 0 w 3651737"/>
                <a:gd name="connsiteY2" fmla="*/ 1892786 h 2582009"/>
                <a:gd name="connsiteX3" fmla="*/ 0 w 3651737"/>
                <a:gd name="connsiteY3" fmla="*/ 396145 h 2582009"/>
                <a:gd name="connsiteX4" fmla="*/ 396145 w 3651737"/>
                <a:gd name="connsiteY4" fmla="*/ 0 h 2582009"/>
                <a:gd name="connsiteX5" fmla="*/ 3255592 w 3651737"/>
                <a:gd name="connsiteY5" fmla="*/ 0 h 2582009"/>
                <a:gd name="connsiteX6" fmla="*/ 3651737 w 3651737"/>
                <a:gd name="connsiteY6" fmla="*/ 396145 h 2582009"/>
                <a:gd name="connsiteX7" fmla="*/ 3651737 w 3651737"/>
                <a:gd name="connsiteY7" fmla="*/ 1892786 h 2582009"/>
                <a:gd name="connsiteX8" fmla="*/ 3255592 w 3651737"/>
                <a:gd name="connsiteY8" fmla="*/ 2288931 h 2582009"/>
                <a:gd name="connsiteX9" fmla="*/ 3196003 w 3651737"/>
                <a:gd name="connsiteY9" fmla="*/ 2288931 h 2582009"/>
                <a:gd name="connsiteX10" fmla="*/ 3196003 w 3651737"/>
                <a:gd name="connsiteY10" fmla="*/ 2582009 h 2582009"/>
                <a:gd name="connsiteX0" fmla="*/ 455734 w 3651737"/>
                <a:gd name="connsiteY0" fmla="*/ 2288931 h 2288931"/>
                <a:gd name="connsiteX1" fmla="*/ 396145 w 3651737"/>
                <a:gd name="connsiteY1" fmla="*/ 2288931 h 2288931"/>
                <a:gd name="connsiteX2" fmla="*/ 0 w 3651737"/>
                <a:gd name="connsiteY2" fmla="*/ 1892786 h 2288931"/>
                <a:gd name="connsiteX3" fmla="*/ 0 w 3651737"/>
                <a:gd name="connsiteY3" fmla="*/ 396145 h 2288931"/>
                <a:gd name="connsiteX4" fmla="*/ 396145 w 3651737"/>
                <a:gd name="connsiteY4" fmla="*/ 0 h 2288931"/>
                <a:gd name="connsiteX5" fmla="*/ 3255592 w 3651737"/>
                <a:gd name="connsiteY5" fmla="*/ 0 h 2288931"/>
                <a:gd name="connsiteX6" fmla="*/ 3651737 w 3651737"/>
                <a:gd name="connsiteY6" fmla="*/ 396145 h 2288931"/>
                <a:gd name="connsiteX7" fmla="*/ 3651737 w 3651737"/>
                <a:gd name="connsiteY7" fmla="*/ 1892786 h 2288931"/>
                <a:gd name="connsiteX8" fmla="*/ 3255592 w 3651737"/>
                <a:gd name="connsiteY8" fmla="*/ 2288931 h 2288931"/>
                <a:gd name="connsiteX9" fmla="*/ 3196003 w 3651737"/>
                <a:gd name="connsiteY9" fmla="*/ 2288931 h 2288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51737" h="2288931">
                  <a:moveTo>
                    <a:pt x="455734" y="2288931"/>
                  </a:moveTo>
                  <a:lnTo>
                    <a:pt x="396145" y="2288931"/>
                  </a:lnTo>
                  <a:cubicBezTo>
                    <a:pt x="177360" y="2288931"/>
                    <a:pt x="0" y="2111571"/>
                    <a:pt x="0" y="1892786"/>
                  </a:cubicBezTo>
                  <a:lnTo>
                    <a:pt x="0" y="396145"/>
                  </a:lnTo>
                  <a:cubicBezTo>
                    <a:pt x="0" y="177360"/>
                    <a:pt x="177360" y="0"/>
                    <a:pt x="396145" y="0"/>
                  </a:cubicBezTo>
                  <a:lnTo>
                    <a:pt x="3255592" y="0"/>
                  </a:lnTo>
                  <a:cubicBezTo>
                    <a:pt x="3474377" y="0"/>
                    <a:pt x="3651737" y="177360"/>
                    <a:pt x="3651737" y="396145"/>
                  </a:cubicBezTo>
                  <a:lnTo>
                    <a:pt x="3651737" y="1892786"/>
                  </a:lnTo>
                  <a:cubicBezTo>
                    <a:pt x="3651737" y="2111571"/>
                    <a:pt x="3474377" y="2288931"/>
                    <a:pt x="3255592" y="2288931"/>
                  </a:cubicBezTo>
                  <a:lnTo>
                    <a:pt x="3196003" y="2288931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26" name="Freeform 2"/>
          <p:cNvSpPr>
            <a:spLocks noChangeArrowheads="1"/>
          </p:cNvSpPr>
          <p:nvPr/>
        </p:nvSpPr>
        <p:spPr bwMode="auto">
          <a:xfrm>
            <a:off x="2837398" y="1730364"/>
            <a:ext cx="6350000" cy="1260599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329" name="Group 328"/>
          <p:cNvGrpSpPr/>
          <p:nvPr/>
        </p:nvGrpSpPr>
        <p:grpSpPr>
          <a:xfrm rot="16200000">
            <a:off x="7816827" y="3613269"/>
            <a:ext cx="3901792" cy="467102"/>
            <a:chOff x="3487387" y="4548246"/>
            <a:chExt cx="5217226" cy="653146"/>
          </a:xfrm>
        </p:grpSpPr>
        <p:sp>
          <p:nvSpPr>
            <p:cNvPr id="330" name="Freeform 329"/>
            <p:cNvSpPr/>
            <p:nvPr/>
          </p:nvSpPr>
          <p:spPr>
            <a:xfrm rot="10800000">
              <a:off x="3487387" y="4548246"/>
              <a:ext cx="5217226" cy="296885"/>
            </a:xfrm>
            <a:custGeom>
              <a:avLst/>
              <a:gdLst>
                <a:gd name="connsiteX0" fmla="*/ 0 w 9096498"/>
                <a:gd name="connsiteY0" fmla="*/ 356260 h 368135"/>
                <a:gd name="connsiteX1" fmla="*/ 0 w 9096498"/>
                <a:gd name="connsiteY1" fmla="*/ 0 h 368135"/>
                <a:gd name="connsiteX2" fmla="*/ 9096498 w 9096498"/>
                <a:gd name="connsiteY2" fmla="*/ 0 h 368135"/>
                <a:gd name="connsiteX3" fmla="*/ 9096498 w 9096498"/>
                <a:gd name="connsiteY3" fmla="*/ 368135 h 3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6498" h="368135">
                  <a:moveTo>
                    <a:pt x="0" y="356260"/>
                  </a:moveTo>
                  <a:lnTo>
                    <a:pt x="0" y="0"/>
                  </a:lnTo>
                  <a:lnTo>
                    <a:pt x="9096498" y="0"/>
                  </a:lnTo>
                  <a:lnTo>
                    <a:pt x="9096498" y="368135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331" name="Freeform 330"/>
            <p:cNvSpPr/>
            <p:nvPr/>
          </p:nvSpPr>
          <p:spPr>
            <a:xfrm flipH="1">
              <a:off x="6057373" y="4845131"/>
              <a:ext cx="45719" cy="356261"/>
            </a:xfrm>
            <a:custGeom>
              <a:avLst/>
              <a:gdLst>
                <a:gd name="connsiteX0" fmla="*/ 0 w 0"/>
                <a:gd name="connsiteY0" fmla="*/ 0 h 475013"/>
                <a:gd name="connsiteX1" fmla="*/ 0 w 0"/>
                <a:gd name="connsiteY1" fmla="*/ 475013 h 47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5013">
                  <a:moveTo>
                    <a:pt x="0" y="0"/>
                  </a:moveTo>
                  <a:lnTo>
                    <a:pt x="0" y="475013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157E86F5-3799-413F-865B-056B2239467C}"/>
              </a:ext>
            </a:extLst>
          </p:cNvPr>
          <p:cNvGrpSpPr/>
          <p:nvPr/>
        </p:nvGrpSpPr>
        <p:grpSpPr>
          <a:xfrm>
            <a:off x="8073976" y="4932273"/>
            <a:ext cx="610610" cy="484674"/>
            <a:chOff x="4223626" y="2353385"/>
            <a:chExt cx="1173971" cy="931848"/>
          </a:xfrm>
        </p:grpSpPr>
        <p:grpSp>
          <p:nvGrpSpPr>
            <p:cNvPr id="334" name="Group 333">
              <a:extLst>
                <a:ext uri="{FF2B5EF4-FFF2-40B4-BE49-F238E27FC236}">
                  <a16:creationId xmlns:a16="http://schemas.microsoft.com/office/drawing/2014/main" id="{A05C8CA7-5716-44F4-AA6C-F308105199AC}"/>
                </a:ext>
              </a:extLst>
            </p:cNvPr>
            <p:cNvGrpSpPr/>
            <p:nvPr/>
          </p:nvGrpSpPr>
          <p:grpSpPr>
            <a:xfrm>
              <a:off x="4273550" y="2402418"/>
              <a:ext cx="1079500" cy="840315"/>
              <a:chOff x="4273550" y="2402418"/>
              <a:chExt cx="1079500" cy="840315"/>
            </a:xfrm>
          </p:grpSpPr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5A851271-35B9-4567-8242-E3F912E057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355600" cy="23283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4" name="Straight Connector 343">
                <a:extLst>
                  <a:ext uri="{FF2B5EF4-FFF2-40B4-BE49-F238E27FC236}">
                    <a16:creationId xmlns:a16="http://schemas.microsoft.com/office/drawing/2014/main" id="{AB8BADB1-F06D-4556-BDB3-AC51BE1C02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296333" cy="721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5" name="Straight Connector 344">
                <a:extLst>
                  <a:ext uri="{FF2B5EF4-FFF2-40B4-BE49-F238E27FC236}">
                    <a16:creationId xmlns:a16="http://schemas.microsoft.com/office/drawing/2014/main" id="{FEDDF95B-3B64-4407-8297-89C1BA4C5D7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3143250"/>
                <a:ext cx="520700" cy="86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6" name="Straight Connector 345">
                <a:extLst>
                  <a:ext uri="{FF2B5EF4-FFF2-40B4-BE49-F238E27FC236}">
                    <a16:creationId xmlns:a16="http://schemas.microsoft.com/office/drawing/2014/main" id="{0024F100-B6BA-4A71-A159-2082E41BB8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039783" y="2641600"/>
                <a:ext cx="300567" cy="24130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7" name="Straight Connector 346">
                <a:extLst>
                  <a:ext uri="{FF2B5EF4-FFF2-40B4-BE49-F238E27FC236}">
                    <a16:creationId xmlns:a16="http://schemas.microsoft.com/office/drawing/2014/main" id="{14772615-86BD-40A8-A00C-9CA1E8D8AD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13250" y="2413001"/>
                <a:ext cx="571500" cy="126999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8" name="Straight Connector 347">
                <a:extLst>
                  <a:ext uri="{FF2B5EF4-FFF2-40B4-BE49-F238E27FC236}">
                    <a16:creationId xmlns:a16="http://schemas.microsoft.com/office/drawing/2014/main" id="{CE05E5C5-F516-4118-A018-0C2ABCE560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03233" y="2450099"/>
                <a:ext cx="251425" cy="248651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235FA8B6-0664-4D81-A0C3-041C91042D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402418"/>
                <a:ext cx="232833" cy="821265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293D7F10-2B40-4C3E-BC02-FB5F218DD71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273550" y="2984500"/>
                <a:ext cx="495300" cy="2518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6FAF40E5-CA9A-43A7-B678-5E15A8DC25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7483" y="2537884"/>
                <a:ext cx="647700" cy="338666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BA50FD9A-5E22-4AA7-ACA5-624DAD5EC5B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77783" y="2874433"/>
                <a:ext cx="770467" cy="10795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3" name="Straight Connector 352">
                <a:extLst>
                  <a:ext uri="{FF2B5EF4-FFF2-40B4-BE49-F238E27FC236}">
                    <a16:creationId xmlns:a16="http://schemas.microsoft.com/office/drawing/2014/main" id="{4C194713-8DF4-472A-95E2-3008956F3D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3250" y="2531533"/>
                <a:ext cx="353483" cy="69850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4" name="Straight Connector 353">
                <a:extLst>
                  <a:ext uri="{FF2B5EF4-FFF2-40B4-BE49-F238E27FC236}">
                    <a16:creationId xmlns:a16="http://schemas.microsoft.com/office/drawing/2014/main" id="{9D0988E2-D6D1-441A-984F-FCB82793B2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715933" y="2698750"/>
                <a:ext cx="50800" cy="5439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5" name="Straight Connector 354">
                <a:extLst>
                  <a:ext uri="{FF2B5EF4-FFF2-40B4-BE49-F238E27FC236}">
                    <a16:creationId xmlns:a16="http://schemas.microsoft.com/office/drawing/2014/main" id="{BFBF1C9C-0CC3-4886-AB32-C611A6480AB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052483" y="2899834"/>
                <a:ext cx="234950" cy="218016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64E2F12D-BF5C-41F8-98EE-C153F2CDD2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876550"/>
                <a:ext cx="292101" cy="340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sp useBgFill="1">
          <p:nvSpPr>
            <p:cNvPr id="335" name="Oval 19">
              <a:extLst>
                <a:ext uri="{FF2B5EF4-FFF2-40B4-BE49-F238E27FC236}">
                  <a16:creationId xmlns:a16="http://schemas.microsoft.com/office/drawing/2014/main" id="{B69A7114-346D-4E1F-8316-C9F674D43B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065" y="2353385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6" name="Oval 19">
              <a:extLst>
                <a:ext uri="{FF2B5EF4-FFF2-40B4-BE49-F238E27FC236}">
                  <a16:creationId xmlns:a16="http://schemas.microsoft.com/office/drawing/2014/main" id="{829E95C8-0BE7-4934-BBA0-764CFC133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4290" y="2582712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7" name="Oval 19">
              <a:extLst>
                <a:ext uri="{FF2B5EF4-FFF2-40B4-BE49-F238E27FC236}">
                  <a16:creationId xmlns:a16="http://schemas.microsoft.com/office/drawing/2014/main" id="{018D398B-43FE-4715-8E00-9755FF081E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571" y="2824202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8" name="Oval 19">
              <a:extLst>
                <a:ext uri="{FF2B5EF4-FFF2-40B4-BE49-F238E27FC236}">
                  <a16:creationId xmlns:a16="http://schemas.microsoft.com/office/drawing/2014/main" id="{C3354846-2B08-490E-8CC7-713F631A2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7637" y="3071688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9" name="Oval 19">
              <a:extLst>
                <a:ext uri="{FF2B5EF4-FFF2-40B4-BE49-F238E27FC236}">
                  <a16:creationId xmlns:a16="http://schemas.microsoft.com/office/drawing/2014/main" id="{D1CBB913-D1AD-48D0-BE4A-7FBEA08A9A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3544" y="3171926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0" name="Oval 19">
              <a:extLst>
                <a:ext uri="{FF2B5EF4-FFF2-40B4-BE49-F238E27FC236}">
                  <a16:creationId xmlns:a16="http://schemas.microsoft.com/office/drawing/2014/main" id="{C1B58B5E-4C1F-4ADC-AA6C-FC2ABE032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3626" y="2924064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1" name="Oval 19">
              <a:extLst>
                <a:ext uri="{FF2B5EF4-FFF2-40B4-BE49-F238E27FC236}">
                  <a16:creationId xmlns:a16="http://schemas.microsoft.com/office/drawing/2014/main" id="{CFB2AEFE-8939-4180-9B35-944BDC81CF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5543" y="2638231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2" name="Oval 19">
              <a:extLst>
                <a:ext uri="{FF2B5EF4-FFF2-40B4-BE49-F238E27FC236}">
                  <a16:creationId xmlns:a16="http://schemas.microsoft.com/office/drawing/2014/main" id="{09010101-87A4-4BE3-A0A0-3F72B3CAD0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3387" y="2482918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7985" y="4946317"/>
            <a:ext cx="800100" cy="418494"/>
          </a:xfrm>
          <a:prstGeom prst="rect">
            <a:avLst/>
          </a:prstGeom>
        </p:spPr>
      </p:pic>
      <p:grpSp>
        <p:nvGrpSpPr>
          <p:cNvPr id="357" name="Group 356"/>
          <p:cNvGrpSpPr/>
          <p:nvPr/>
        </p:nvGrpSpPr>
        <p:grpSpPr>
          <a:xfrm rot="16200000">
            <a:off x="308610" y="3511904"/>
            <a:ext cx="3947815" cy="467102"/>
            <a:chOff x="3487387" y="4548246"/>
            <a:chExt cx="5217226" cy="653146"/>
          </a:xfrm>
        </p:grpSpPr>
        <p:sp>
          <p:nvSpPr>
            <p:cNvPr id="358" name="Freeform 357"/>
            <p:cNvSpPr/>
            <p:nvPr/>
          </p:nvSpPr>
          <p:spPr>
            <a:xfrm rot="10800000">
              <a:off x="3487387" y="4548246"/>
              <a:ext cx="5217226" cy="296885"/>
            </a:xfrm>
            <a:custGeom>
              <a:avLst/>
              <a:gdLst>
                <a:gd name="connsiteX0" fmla="*/ 0 w 9096498"/>
                <a:gd name="connsiteY0" fmla="*/ 356260 h 368135"/>
                <a:gd name="connsiteX1" fmla="*/ 0 w 9096498"/>
                <a:gd name="connsiteY1" fmla="*/ 0 h 368135"/>
                <a:gd name="connsiteX2" fmla="*/ 9096498 w 9096498"/>
                <a:gd name="connsiteY2" fmla="*/ 0 h 368135"/>
                <a:gd name="connsiteX3" fmla="*/ 9096498 w 9096498"/>
                <a:gd name="connsiteY3" fmla="*/ 368135 h 3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6498" h="368135">
                  <a:moveTo>
                    <a:pt x="0" y="356260"/>
                  </a:moveTo>
                  <a:lnTo>
                    <a:pt x="0" y="0"/>
                  </a:lnTo>
                  <a:lnTo>
                    <a:pt x="9096498" y="0"/>
                  </a:lnTo>
                  <a:lnTo>
                    <a:pt x="9096498" y="368135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359" name="Freeform 358"/>
            <p:cNvSpPr/>
            <p:nvPr/>
          </p:nvSpPr>
          <p:spPr>
            <a:xfrm flipH="1">
              <a:off x="6057373" y="4845131"/>
              <a:ext cx="45719" cy="356261"/>
            </a:xfrm>
            <a:custGeom>
              <a:avLst/>
              <a:gdLst>
                <a:gd name="connsiteX0" fmla="*/ 0 w 0"/>
                <a:gd name="connsiteY0" fmla="*/ 0 h 475013"/>
                <a:gd name="connsiteX1" fmla="*/ 0 w 0"/>
                <a:gd name="connsiteY1" fmla="*/ 475013 h 47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5013">
                  <a:moveTo>
                    <a:pt x="0" y="0"/>
                  </a:moveTo>
                  <a:lnTo>
                    <a:pt x="0" y="475013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080442" y="1874678"/>
            <a:ext cx="388896" cy="593152"/>
            <a:chOff x="952162" y="1304149"/>
            <a:chExt cx="630602" cy="961807"/>
          </a:xfrm>
          <a:noFill/>
        </p:grpSpPr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421523C8-5C73-4065-8241-E6B5788AE66D}"/>
                </a:ext>
              </a:extLst>
            </p:cNvPr>
            <p:cNvGrpSpPr/>
            <p:nvPr/>
          </p:nvGrpSpPr>
          <p:grpSpPr>
            <a:xfrm rot="18900000">
              <a:off x="952162" y="1304149"/>
              <a:ext cx="630602" cy="634379"/>
              <a:chOff x="7855882" y="2876917"/>
              <a:chExt cx="186983" cy="188103"/>
            </a:xfrm>
            <a:grpFill/>
          </p:grpSpPr>
          <p:sp>
            <p:nvSpPr>
              <p:cNvPr id="171" name="Freeform 99">
                <a:extLst>
                  <a:ext uri="{FF2B5EF4-FFF2-40B4-BE49-F238E27FC236}">
                    <a16:creationId xmlns:a16="http://schemas.microsoft.com/office/drawing/2014/main" id="{82403A1B-46A8-496D-97A1-D6CD69725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951934"/>
                <a:ext cx="111966" cy="113086"/>
              </a:xfrm>
              <a:custGeom>
                <a:avLst/>
                <a:gdLst>
                  <a:gd name="T0" fmla="*/ 0 w 46"/>
                  <a:gd name="T1" fmla="*/ 0 h 47"/>
                  <a:gd name="T2" fmla="*/ 46 w 46"/>
                  <a:gd name="T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7">
                    <a:moveTo>
                      <a:pt x="0" y="0"/>
                    </a:moveTo>
                    <a:cubicBezTo>
                      <a:pt x="25" y="0"/>
                      <a:pt x="46" y="21"/>
                      <a:pt x="46" y="47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2" name="Freeform 100">
                <a:extLst>
                  <a:ext uri="{FF2B5EF4-FFF2-40B4-BE49-F238E27FC236}">
                    <a16:creationId xmlns:a16="http://schemas.microsoft.com/office/drawing/2014/main" id="{4955A11D-DC58-4772-9411-DE2AE3195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916105"/>
                <a:ext cx="150035" cy="148915"/>
              </a:xfrm>
              <a:custGeom>
                <a:avLst/>
                <a:gdLst>
                  <a:gd name="T0" fmla="*/ 0 w 62"/>
                  <a:gd name="T1" fmla="*/ 0 h 62"/>
                  <a:gd name="T2" fmla="*/ 62 w 62"/>
                  <a:gd name="T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2" h="62">
                    <a:moveTo>
                      <a:pt x="0" y="0"/>
                    </a:moveTo>
                    <a:cubicBezTo>
                      <a:pt x="34" y="0"/>
                      <a:pt x="62" y="27"/>
                      <a:pt x="62" y="62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3" name="Freeform 101">
                <a:extLst>
                  <a:ext uri="{FF2B5EF4-FFF2-40B4-BE49-F238E27FC236}">
                    <a16:creationId xmlns:a16="http://schemas.microsoft.com/office/drawing/2014/main" id="{DB0A5B1D-F31E-4BE1-9830-C9C3C44A2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876917"/>
                <a:ext cx="186983" cy="188103"/>
              </a:xfrm>
              <a:custGeom>
                <a:avLst/>
                <a:gdLst>
                  <a:gd name="T0" fmla="*/ 0 w 77"/>
                  <a:gd name="T1" fmla="*/ 0 h 78"/>
                  <a:gd name="T2" fmla="*/ 77 w 77"/>
                  <a:gd name="T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7" h="78">
                    <a:moveTo>
                      <a:pt x="0" y="0"/>
                    </a:moveTo>
                    <a:cubicBezTo>
                      <a:pt x="42" y="0"/>
                      <a:pt x="77" y="35"/>
                      <a:pt x="77" y="78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" name="Oval 4"/>
            <p:cNvSpPr/>
            <p:nvPr/>
          </p:nvSpPr>
          <p:spPr>
            <a:xfrm flipV="1">
              <a:off x="1084304" y="1899638"/>
              <a:ext cx="366318" cy="366318"/>
            </a:xfrm>
            <a:prstGeom prst="ellipse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02770" y="2948780"/>
            <a:ext cx="829640" cy="459762"/>
            <a:chOff x="603432" y="2974623"/>
            <a:chExt cx="829640" cy="459762"/>
          </a:xfrm>
        </p:grpSpPr>
        <p:sp>
          <p:nvSpPr>
            <p:cNvPr id="176" name="Freeform 146">
              <a:extLst>
                <a:ext uri="{FF2B5EF4-FFF2-40B4-BE49-F238E27FC236}">
                  <a16:creationId xmlns:a16="http://schemas.microsoft.com/office/drawing/2014/main" id="{8584423E-DC4D-476D-A3D6-22901C3C02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3432" y="2974623"/>
              <a:ext cx="485330" cy="307364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03" name="Freeform 146">
              <a:extLst>
                <a:ext uri="{FF2B5EF4-FFF2-40B4-BE49-F238E27FC236}">
                  <a16:creationId xmlns:a16="http://schemas.microsoft.com/office/drawing/2014/main" id="{8584423E-DC4D-476D-A3D6-22901C3C02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99900" y="3033391"/>
              <a:ext cx="633172" cy="400994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65" name="TextBox 164">
            <a:extLst>
              <a:ext uri="{FF2B5EF4-FFF2-40B4-BE49-F238E27FC236}">
                <a16:creationId xmlns:a16="http://schemas.microsoft.com/office/drawing/2014/main" id="{0DC26B6F-BE7E-4BB0-B7F6-BD86F96475CE}"/>
              </a:ext>
            </a:extLst>
          </p:cNvPr>
          <p:cNvSpPr txBox="1"/>
          <p:nvPr/>
        </p:nvSpPr>
        <p:spPr>
          <a:xfrm>
            <a:off x="9990188" y="5670351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warehouses</a:t>
            </a: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329D6182-2959-48F8-AEDB-BB4B108D1668}"/>
              </a:ext>
            </a:extLst>
          </p:cNvPr>
          <p:cNvGrpSpPr/>
          <p:nvPr/>
        </p:nvGrpSpPr>
        <p:grpSpPr>
          <a:xfrm>
            <a:off x="10641992" y="5204216"/>
            <a:ext cx="476134" cy="467582"/>
            <a:chOff x="2549926" y="1227604"/>
            <a:chExt cx="5177116" cy="5084148"/>
          </a:xfrm>
        </p:grpSpPr>
        <p:sp>
          <p:nvSpPr>
            <p:cNvPr id="167" name="Freeform: Shape 583">
              <a:extLst>
                <a:ext uri="{FF2B5EF4-FFF2-40B4-BE49-F238E27FC236}">
                  <a16:creationId xmlns:a16="http://schemas.microsoft.com/office/drawing/2014/main" id="{D41FA54A-BF28-42C1-BAB5-00F77F2BE36E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EF12A1BF-A814-4491-97D6-31BAC827D32B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CE25C6EB-E7AE-47CE-AF01-64A9FFD04266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B0854FBD-403C-4B0D-B2BB-E9D2C2068322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4F75DB51-D6A0-4425-97A8-C6F1D00838E8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ED2B57A-8299-4302-AC8F-62DC4E4925DE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453BE61B-3648-4CA6-ACC9-9F37A2D6D604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0" name="Cylinder 590">
              <a:extLst>
                <a:ext uri="{FF2B5EF4-FFF2-40B4-BE49-F238E27FC236}">
                  <a16:creationId xmlns:a16="http://schemas.microsoft.com/office/drawing/2014/main" id="{DA454E18-FC30-45FC-9B5D-2747C1D4681F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accent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62F33"/>
                </a:soli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949023DE-2731-4F78-AC2E-0DDF7085F71C}"/>
              </a:ext>
            </a:extLst>
          </p:cNvPr>
          <p:cNvSpPr txBox="1"/>
          <p:nvPr/>
        </p:nvSpPr>
        <p:spPr>
          <a:xfrm>
            <a:off x="2776727" y="1330025"/>
            <a:ext cx="17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zure Databricks</a:t>
            </a:r>
          </a:p>
        </p:txBody>
      </p:sp>
      <p:sp>
        <p:nvSpPr>
          <p:cNvPr id="185" name="Freeform 4">
            <a:extLst>
              <a:ext uri="{FF2B5EF4-FFF2-40B4-BE49-F238E27FC236}">
                <a16:creationId xmlns:a16="http://schemas.microsoft.com/office/drawing/2014/main" id="{555740EF-E494-4066-B033-B42E7DBE7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205" y="1062446"/>
            <a:ext cx="11408940" cy="5085805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B9D3D5-FE04-431D-B831-604D8382741D}"/>
              </a:ext>
            </a:extLst>
          </p:cNvPr>
          <p:cNvSpPr txBox="1"/>
          <p:nvPr/>
        </p:nvSpPr>
        <p:spPr>
          <a:xfrm>
            <a:off x="888884" y="6286039"/>
            <a:ext cx="2095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Enhance Productivity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A26CDD1E-54A7-47B3-8CE8-9571A3F1FE4F}"/>
              </a:ext>
            </a:extLst>
          </p:cNvPr>
          <p:cNvSpPr/>
          <p:nvPr/>
        </p:nvSpPr>
        <p:spPr>
          <a:xfrm>
            <a:off x="2905610" y="3138102"/>
            <a:ext cx="36444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Deploy Production Jobs &amp; Workflows 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97B581DE-181E-4145-9FAF-9BB9503DD781}"/>
              </a:ext>
            </a:extLst>
          </p:cNvPr>
          <p:cNvSpPr/>
          <p:nvPr/>
        </p:nvSpPr>
        <p:spPr>
          <a:xfrm>
            <a:off x="4691276" y="549212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APACHE SPARK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783E5D5E-5D12-4CAC-AB79-D3B04C94F35C}"/>
              </a:ext>
            </a:extLst>
          </p:cNvPr>
          <p:cNvSpPr/>
          <p:nvPr/>
        </p:nvSpPr>
        <p:spPr>
          <a:xfrm>
            <a:off x="2961569" y="4163007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MULTI-STAGE PIPELINES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483AD615-61FF-4EE1-804B-D9DEC8C23CF7}"/>
              </a:ext>
            </a:extLst>
          </p:cNvPr>
          <p:cNvSpPr/>
          <p:nvPr/>
        </p:nvSpPr>
        <p:spPr>
          <a:xfrm>
            <a:off x="3179446" y="2629547"/>
            <a:ext cx="11739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ENGINEER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F862E818-0B14-4D57-891F-E80EAB9EB6ED}"/>
              </a:ext>
            </a:extLst>
          </p:cNvPr>
          <p:cNvGrpSpPr/>
          <p:nvPr/>
        </p:nvGrpSpPr>
        <p:grpSpPr>
          <a:xfrm>
            <a:off x="3575726" y="2228197"/>
            <a:ext cx="509188" cy="399948"/>
            <a:chOff x="8339328" y="268334"/>
            <a:chExt cx="780544" cy="613088"/>
          </a:xfrm>
        </p:grpSpPr>
        <p:sp>
          <p:nvSpPr>
            <p:cNvPr id="191" name="Freeform 17">
              <a:extLst>
                <a:ext uri="{FF2B5EF4-FFF2-40B4-BE49-F238E27FC236}">
                  <a16:creationId xmlns:a16="http://schemas.microsoft.com/office/drawing/2014/main" id="{0A8BE349-F75B-4DA5-91B4-2A6FEDCC3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8117" y="268334"/>
              <a:ext cx="541755" cy="499762"/>
            </a:xfrm>
            <a:custGeom>
              <a:avLst/>
              <a:gdLst>
                <a:gd name="T0" fmla="*/ 224 w 356"/>
                <a:gd name="T1" fmla="*/ 273 h 328"/>
                <a:gd name="T2" fmla="*/ 181 w 356"/>
                <a:gd name="T3" fmla="*/ 295 h 328"/>
                <a:gd name="T4" fmla="*/ 181 w 356"/>
                <a:gd name="T5" fmla="*/ 328 h 328"/>
                <a:gd name="T6" fmla="*/ 121 w 356"/>
                <a:gd name="T7" fmla="*/ 328 h 328"/>
                <a:gd name="T8" fmla="*/ 121 w 356"/>
                <a:gd name="T9" fmla="*/ 291 h 328"/>
                <a:gd name="T10" fmla="*/ 57 w 356"/>
                <a:gd name="T11" fmla="*/ 254 h 328"/>
                <a:gd name="T12" fmla="*/ 28 w 356"/>
                <a:gd name="T13" fmla="*/ 269 h 328"/>
                <a:gd name="T14" fmla="*/ 0 w 356"/>
                <a:gd name="T15" fmla="*/ 214 h 328"/>
                <a:gd name="T16" fmla="*/ 28 w 356"/>
                <a:gd name="T17" fmla="*/ 199 h 328"/>
                <a:gd name="T18" fmla="*/ 21 w 356"/>
                <a:gd name="T19" fmla="*/ 162 h 328"/>
                <a:gd name="T20" fmla="*/ 28 w 356"/>
                <a:gd name="T21" fmla="*/ 125 h 328"/>
                <a:gd name="T22" fmla="*/ 0 w 356"/>
                <a:gd name="T23" fmla="*/ 111 h 328"/>
                <a:gd name="T24" fmla="*/ 28 w 356"/>
                <a:gd name="T25" fmla="*/ 55 h 328"/>
                <a:gd name="T26" fmla="*/ 57 w 356"/>
                <a:gd name="T27" fmla="*/ 70 h 328"/>
                <a:gd name="T28" fmla="*/ 121 w 356"/>
                <a:gd name="T29" fmla="*/ 33 h 328"/>
                <a:gd name="T30" fmla="*/ 121 w 356"/>
                <a:gd name="T31" fmla="*/ 0 h 328"/>
                <a:gd name="T32" fmla="*/ 181 w 356"/>
                <a:gd name="T33" fmla="*/ 0 h 328"/>
                <a:gd name="T34" fmla="*/ 181 w 356"/>
                <a:gd name="T35" fmla="*/ 30 h 328"/>
                <a:gd name="T36" fmla="*/ 249 w 356"/>
                <a:gd name="T37" fmla="*/ 70 h 328"/>
                <a:gd name="T38" fmla="*/ 274 w 356"/>
                <a:gd name="T39" fmla="*/ 55 h 328"/>
                <a:gd name="T40" fmla="*/ 306 w 356"/>
                <a:gd name="T41" fmla="*/ 111 h 328"/>
                <a:gd name="T42" fmla="*/ 277 w 356"/>
                <a:gd name="T43" fmla="*/ 125 h 328"/>
                <a:gd name="T44" fmla="*/ 282 w 356"/>
                <a:gd name="T45" fmla="*/ 162 h 328"/>
                <a:gd name="T46" fmla="*/ 279 w 356"/>
                <a:gd name="T47" fmla="*/ 188 h 328"/>
                <a:gd name="T48" fmla="*/ 186 w 356"/>
                <a:gd name="T49" fmla="*/ 100 h 328"/>
                <a:gd name="T50" fmla="*/ 150 w 356"/>
                <a:gd name="T51" fmla="*/ 89 h 328"/>
                <a:gd name="T52" fmla="*/ 75 w 356"/>
                <a:gd name="T53" fmla="*/ 166 h 328"/>
                <a:gd name="T54" fmla="*/ 107 w 356"/>
                <a:gd name="T55" fmla="*/ 231 h 328"/>
                <a:gd name="T56" fmla="*/ 209 w 356"/>
                <a:gd name="T57" fmla="*/ 238 h 328"/>
                <a:gd name="T58" fmla="*/ 310 w 356"/>
                <a:gd name="T59" fmla="*/ 302 h 328"/>
                <a:gd name="T60" fmla="*/ 348 w 356"/>
                <a:gd name="T61" fmla="*/ 294 h 328"/>
                <a:gd name="T62" fmla="*/ 340 w 356"/>
                <a:gd name="T63" fmla="*/ 256 h 328"/>
                <a:gd name="T64" fmla="*/ 237 w 356"/>
                <a:gd name="T65" fmla="*/ 195 h 328"/>
                <a:gd name="T66" fmla="*/ 235 w 356"/>
                <a:gd name="T67" fmla="*/ 194 h 328"/>
                <a:gd name="T68" fmla="*/ 234 w 356"/>
                <a:gd name="T69" fmla="*/ 179 h 328"/>
                <a:gd name="T70" fmla="*/ 172 w 356"/>
                <a:gd name="T71" fmla="*/ 139 h 328"/>
                <a:gd name="T72" fmla="*/ 145 w 356"/>
                <a:gd name="T73" fmla="*/ 153 h 328"/>
                <a:gd name="T74" fmla="*/ 194 w 356"/>
                <a:gd name="T75" fmla="*/ 183 h 328"/>
                <a:gd name="T76" fmla="*/ 182 w 356"/>
                <a:gd name="T77" fmla="*/ 199 h 328"/>
                <a:gd name="T78" fmla="*/ 135 w 356"/>
                <a:gd name="T79" fmla="*/ 169 h 328"/>
                <a:gd name="T80" fmla="*/ 132 w 356"/>
                <a:gd name="T81" fmla="*/ 201 h 328"/>
                <a:gd name="T82" fmla="*/ 194 w 356"/>
                <a:gd name="T83" fmla="*/ 241 h 328"/>
                <a:gd name="T84" fmla="*/ 207 w 356"/>
                <a:gd name="T85" fmla="*/ 237 h 328"/>
                <a:gd name="T86" fmla="*/ 209 w 356"/>
                <a:gd name="T87" fmla="*/ 23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6" h="328">
                  <a:moveTo>
                    <a:pt x="224" y="273"/>
                  </a:moveTo>
                  <a:cubicBezTo>
                    <a:pt x="213" y="284"/>
                    <a:pt x="195" y="291"/>
                    <a:pt x="181" y="295"/>
                  </a:cubicBezTo>
                  <a:cubicBezTo>
                    <a:pt x="181" y="295"/>
                    <a:pt x="181" y="295"/>
                    <a:pt x="181" y="328"/>
                  </a:cubicBezTo>
                  <a:cubicBezTo>
                    <a:pt x="181" y="328"/>
                    <a:pt x="181" y="328"/>
                    <a:pt x="121" y="328"/>
                  </a:cubicBezTo>
                  <a:cubicBezTo>
                    <a:pt x="121" y="328"/>
                    <a:pt x="121" y="328"/>
                    <a:pt x="121" y="291"/>
                  </a:cubicBezTo>
                  <a:cubicBezTo>
                    <a:pt x="96" y="287"/>
                    <a:pt x="75" y="273"/>
                    <a:pt x="57" y="254"/>
                  </a:cubicBezTo>
                  <a:cubicBezTo>
                    <a:pt x="57" y="254"/>
                    <a:pt x="57" y="254"/>
                    <a:pt x="28" y="269"/>
                  </a:cubicBezTo>
                  <a:cubicBezTo>
                    <a:pt x="28" y="269"/>
                    <a:pt x="28" y="269"/>
                    <a:pt x="0" y="214"/>
                  </a:cubicBezTo>
                  <a:cubicBezTo>
                    <a:pt x="0" y="214"/>
                    <a:pt x="0" y="214"/>
                    <a:pt x="28" y="199"/>
                  </a:cubicBezTo>
                  <a:cubicBezTo>
                    <a:pt x="25" y="188"/>
                    <a:pt x="21" y="177"/>
                    <a:pt x="21" y="162"/>
                  </a:cubicBezTo>
                  <a:cubicBezTo>
                    <a:pt x="21" y="151"/>
                    <a:pt x="25" y="136"/>
                    <a:pt x="28" y="125"/>
                  </a:cubicBezTo>
                  <a:cubicBezTo>
                    <a:pt x="28" y="125"/>
                    <a:pt x="28" y="125"/>
                    <a:pt x="0" y="111"/>
                  </a:cubicBezTo>
                  <a:cubicBezTo>
                    <a:pt x="0" y="111"/>
                    <a:pt x="0" y="111"/>
                    <a:pt x="28" y="55"/>
                  </a:cubicBezTo>
                  <a:cubicBezTo>
                    <a:pt x="28" y="55"/>
                    <a:pt x="28" y="55"/>
                    <a:pt x="57" y="70"/>
                  </a:cubicBezTo>
                  <a:cubicBezTo>
                    <a:pt x="75" y="52"/>
                    <a:pt x="96" y="37"/>
                    <a:pt x="121" y="33"/>
                  </a:cubicBezTo>
                  <a:cubicBezTo>
                    <a:pt x="121" y="33"/>
                    <a:pt x="121" y="33"/>
                    <a:pt x="121" y="0"/>
                  </a:cubicBezTo>
                  <a:cubicBezTo>
                    <a:pt x="121" y="0"/>
                    <a:pt x="121" y="0"/>
                    <a:pt x="181" y="0"/>
                  </a:cubicBezTo>
                  <a:cubicBezTo>
                    <a:pt x="181" y="0"/>
                    <a:pt x="181" y="0"/>
                    <a:pt x="181" y="30"/>
                  </a:cubicBezTo>
                  <a:cubicBezTo>
                    <a:pt x="206" y="37"/>
                    <a:pt x="231" y="52"/>
                    <a:pt x="249" y="70"/>
                  </a:cubicBezTo>
                  <a:cubicBezTo>
                    <a:pt x="249" y="70"/>
                    <a:pt x="249" y="70"/>
                    <a:pt x="274" y="55"/>
                  </a:cubicBezTo>
                  <a:cubicBezTo>
                    <a:pt x="274" y="55"/>
                    <a:pt x="274" y="55"/>
                    <a:pt x="306" y="111"/>
                  </a:cubicBezTo>
                  <a:cubicBezTo>
                    <a:pt x="306" y="111"/>
                    <a:pt x="306" y="111"/>
                    <a:pt x="277" y="125"/>
                  </a:cubicBezTo>
                  <a:cubicBezTo>
                    <a:pt x="281" y="136"/>
                    <a:pt x="282" y="150"/>
                    <a:pt x="282" y="162"/>
                  </a:cubicBezTo>
                  <a:cubicBezTo>
                    <a:pt x="282" y="169"/>
                    <a:pt x="282" y="178"/>
                    <a:pt x="279" y="188"/>
                  </a:cubicBezTo>
                  <a:moveTo>
                    <a:pt x="186" y="100"/>
                  </a:moveTo>
                  <a:cubicBezTo>
                    <a:pt x="176" y="93"/>
                    <a:pt x="165" y="89"/>
                    <a:pt x="150" y="89"/>
                  </a:cubicBezTo>
                  <a:cubicBezTo>
                    <a:pt x="107" y="89"/>
                    <a:pt x="75" y="126"/>
                    <a:pt x="75" y="166"/>
                  </a:cubicBezTo>
                  <a:cubicBezTo>
                    <a:pt x="75" y="195"/>
                    <a:pt x="85" y="217"/>
                    <a:pt x="107" y="231"/>
                  </a:cubicBezTo>
                  <a:moveTo>
                    <a:pt x="209" y="238"/>
                  </a:moveTo>
                  <a:cubicBezTo>
                    <a:pt x="310" y="302"/>
                    <a:pt x="310" y="302"/>
                    <a:pt x="310" y="302"/>
                  </a:cubicBezTo>
                  <a:cubicBezTo>
                    <a:pt x="323" y="310"/>
                    <a:pt x="340" y="307"/>
                    <a:pt x="348" y="294"/>
                  </a:cubicBezTo>
                  <a:cubicBezTo>
                    <a:pt x="356" y="282"/>
                    <a:pt x="353" y="265"/>
                    <a:pt x="340" y="256"/>
                  </a:cubicBezTo>
                  <a:cubicBezTo>
                    <a:pt x="237" y="195"/>
                    <a:pt x="237" y="195"/>
                    <a:pt x="237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6" y="189"/>
                    <a:pt x="235" y="184"/>
                    <a:pt x="234" y="179"/>
                  </a:cubicBezTo>
                  <a:cubicBezTo>
                    <a:pt x="228" y="151"/>
                    <a:pt x="200" y="132"/>
                    <a:pt x="172" y="139"/>
                  </a:cubicBezTo>
                  <a:cubicBezTo>
                    <a:pt x="162" y="141"/>
                    <a:pt x="152" y="146"/>
                    <a:pt x="145" y="153"/>
                  </a:cubicBezTo>
                  <a:cubicBezTo>
                    <a:pt x="194" y="183"/>
                    <a:pt x="194" y="183"/>
                    <a:pt x="194" y="183"/>
                  </a:cubicBezTo>
                  <a:cubicBezTo>
                    <a:pt x="182" y="199"/>
                    <a:pt x="182" y="199"/>
                    <a:pt x="182" y="19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1" y="179"/>
                    <a:pt x="129" y="190"/>
                    <a:pt x="132" y="201"/>
                  </a:cubicBezTo>
                  <a:cubicBezTo>
                    <a:pt x="138" y="229"/>
                    <a:pt x="165" y="247"/>
                    <a:pt x="194" y="241"/>
                  </a:cubicBezTo>
                  <a:cubicBezTo>
                    <a:pt x="198" y="240"/>
                    <a:pt x="203" y="239"/>
                    <a:pt x="207" y="237"/>
                  </a:cubicBezTo>
                  <a:lnTo>
                    <a:pt x="209" y="238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92" name="Freeform 5">
              <a:extLst>
                <a:ext uri="{FF2B5EF4-FFF2-40B4-BE49-F238E27FC236}">
                  <a16:creationId xmlns:a16="http://schemas.microsoft.com/office/drawing/2014/main" id="{42708161-D58A-4D4C-A577-8696733DBA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39328" y="303250"/>
              <a:ext cx="517467" cy="578172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BFECA14A-8C14-4349-A313-1AE53C55353B}"/>
              </a:ext>
            </a:extLst>
          </p:cNvPr>
          <p:cNvGrpSpPr/>
          <p:nvPr/>
        </p:nvGrpSpPr>
        <p:grpSpPr>
          <a:xfrm>
            <a:off x="5707879" y="2284173"/>
            <a:ext cx="502920" cy="361358"/>
            <a:chOff x="10268712" y="1254226"/>
            <a:chExt cx="804672" cy="578172"/>
          </a:xfrm>
        </p:grpSpPr>
        <p:grpSp>
          <p:nvGrpSpPr>
            <p:cNvPr id="194" name="Group 11">
              <a:extLst>
                <a:ext uri="{FF2B5EF4-FFF2-40B4-BE49-F238E27FC236}">
                  <a16:creationId xmlns:a16="http://schemas.microsoft.com/office/drawing/2014/main" id="{9974C1ED-FF66-4DB2-8D24-60E9123038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607090" y="1257647"/>
              <a:ext cx="466294" cy="507929"/>
              <a:chOff x="3861" y="4291602"/>
              <a:chExt cx="112" cy="244433"/>
            </a:xfrm>
          </p:grpSpPr>
          <p:sp>
            <p:nvSpPr>
              <p:cNvPr id="196" name="Freeform 12">
                <a:extLst>
                  <a:ext uri="{FF2B5EF4-FFF2-40B4-BE49-F238E27FC236}">
                    <a16:creationId xmlns:a16="http://schemas.microsoft.com/office/drawing/2014/main" id="{14E7BF12-5327-408A-A695-4E11198D5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1" y="4291602"/>
                <a:ext cx="112" cy="244433"/>
              </a:xfrm>
              <a:custGeom>
                <a:avLst/>
                <a:gdLst>
                  <a:gd name="T0" fmla="*/ 24 w 80"/>
                  <a:gd name="T1" fmla="*/ 36 h 88"/>
                  <a:gd name="T2" fmla="*/ 4 w 80"/>
                  <a:gd name="T3" fmla="*/ 74 h 88"/>
                  <a:gd name="T4" fmla="*/ 12 w 80"/>
                  <a:gd name="T5" fmla="*/ 88 h 88"/>
                  <a:gd name="T6" fmla="*/ 68 w 80"/>
                  <a:gd name="T7" fmla="*/ 88 h 88"/>
                  <a:gd name="T8" fmla="*/ 76 w 80"/>
                  <a:gd name="T9" fmla="*/ 74 h 88"/>
                  <a:gd name="T10" fmla="*/ 56 w 80"/>
                  <a:gd name="T11" fmla="*/ 36 h 88"/>
                  <a:gd name="T12" fmla="*/ 56 w 80"/>
                  <a:gd name="T13" fmla="*/ 0 h 88"/>
                  <a:gd name="T14" fmla="*/ 24 w 80"/>
                  <a:gd name="T15" fmla="*/ 0 h 88"/>
                  <a:gd name="T16" fmla="*/ 24 w 80"/>
                  <a:gd name="T17" fmla="*/ 3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88">
                    <a:moveTo>
                      <a:pt x="24" y="36"/>
                    </a:moveTo>
                    <a:cubicBezTo>
                      <a:pt x="4" y="74"/>
                      <a:pt x="4" y="74"/>
                      <a:pt x="4" y="74"/>
                    </a:cubicBezTo>
                    <a:cubicBezTo>
                      <a:pt x="0" y="80"/>
                      <a:pt x="5" y="88"/>
                      <a:pt x="12" y="88"/>
                    </a:cubicBezTo>
                    <a:cubicBezTo>
                      <a:pt x="68" y="88"/>
                      <a:pt x="68" y="88"/>
                      <a:pt x="68" y="88"/>
                    </a:cubicBezTo>
                    <a:cubicBezTo>
                      <a:pt x="75" y="88"/>
                      <a:pt x="80" y="80"/>
                      <a:pt x="76" y="74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24" y="36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7" name="Line 13">
                <a:extLst>
                  <a:ext uri="{FF2B5EF4-FFF2-40B4-BE49-F238E27FC236}">
                    <a16:creationId xmlns:a16="http://schemas.microsoft.com/office/drawing/2014/main" id="{BA83800C-8600-4A26-AC84-AB5E3F7559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72" y="4469918"/>
                <a:ext cx="90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8" name="Line 14">
                <a:extLst>
                  <a:ext uri="{FF2B5EF4-FFF2-40B4-BE49-F238E27FC236}">
                    <a16:creationId xmlns:a16="http://schemas.microsoft.com/office/drawing/2014/main" id="{3B1A8ED1-DC16-4B90-B5E0-B5427DE145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335680"/>
                <a:ext cx="16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9" name="Line 15">
                <a:extLst>
                  <a:ext uri="{FF2B5EF4-FFF2-40B4-BE49-F238E27FC236}">
                    <a16:creationId xmlns:a16="http://schemas.microsoft.com/office/drawing/2014/main" id="{9C7CA43B-C9E6-40BA-B5B3-41644AEF26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379758"/>
                <a:ext cx="16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0" name="Line 16">
                <a:extLst>
                  <a:ext uri="{FF2B5EF4-FFF2-40B4-BE49-F238E27FC236}">
                    <a16:creationId xmlns:a16="http://schemas.microsoft.com/office/drawing/2014/main" id="{9E45A68A-C242-4E6C-A2A0-335993C262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425840"/>
                <a:ext cx="28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1" name="Line 17">
                <a:extLst>
                  <a:ext uri="{FF2B5EF4-FFF2-40B4-BE49-F238E27FC236}">
                    <a16:creationId xmlns:a16="http://schemas.microsoft.com/office/drawing/2014/main" id="{12261218-B93E-42BF-A6C4-7569B7707B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83" y="4291602"/>
                <a:ext cx="68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5" name="Freeform 5">
              <a:extLst>
                <a:ext uri="{FF2B5EF4-FFF2-40B4-BE49-F238E27FC236}">
                  <a16:creationId xmlns:a16="http://schemas.microsoft.com/office/drawing/2014/main" id="{56F84BC6-29A5-47B4-B63A-E67E8F4706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68712" y="1254226"/>
              <a:ext cx="517467" cy="578172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88070708-B166-4833-A63F-B5E80BBF26D9}"/>
              </a:ext>
            </a:extLst>
          </p:cNvPr>
          <p:cNvGrpSpPr/>
          <p:nvPr/>
        </p:nvGrpSpPr>
        <p:grpSpPr>
          <a:xfrm>
            <a:off x="7978217" y="2234285"/>
            <a:ext cx="554668" cy="377171"/>
            <a:chOff x="9151662" y="1184065"/>
            <a:chExt cx="554668" cy="377171"/>
          </a:xfrm>
        </p:grpSpPr>
        <p:grpSp>
          <p:nvGrpSpPr>
            <p:cNvPr id="219" name="Group 4">
              <a:extLst>
                <a:ext uri="{FF2B5EF4-FFF2-40B4-BE49-F238E27FC236}">
                  <a16:creationId xmlns:a16="http://schemas.microsoft.com/office/drawing/2014/main" id="{C6D220A9-E158-4B4F-B262-1CFF925F7A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396633" y="1190427"/>
              <a:ext cx="309697" cy="302323"/>
              <a:chOff x="1759" y="236"/>
              <a:chExt cx="252" cy="246"/>
            </a:xfrm>
            <a:noFill/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087426E8-22CB-4740-8EA2-7E79F76FE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2" name="Rectangle 6">
                <a:extLst>
                  <a:ext uri="{FF2B5EF4-FFF2-40B4-BE49-F238E27FC236}">
                    <a16:creationId xmlns:a16="http://schemas.microsoft.com/office/drawing/2014/main" id="{C41AE70E-CCC5-4012-87EE-D78D46E46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3" name="Rectangle 7">
                <a:extLst>
                  <a:ext uri="{FF2B5EF4-FFF2-40B4-BE49-F238E27FC236}">
                    <a16:creationId xmlns:a16="http://schemas.microsoft.com/office/drawing/2014/main" id="{3BB82065-89DA-4276-83E9-345666DEC1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4" name="Rectangle 8">
                <a:extLst>
                  <a:ext uri="{FF2B5EF4-FFF2-40B4-BE49-F238E27FC236}">
                    <a16:creationId xmlns:a16="http://schemas.microsoft.com/office/drawing/2014/main" id="{C81E81EE-105D-4A76-A964-A547F2F69C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20" name="Freeform 5">
              <a:extLst>
                <a:ext uri="{FF2B5EF4-FFF2-40B4-BE49-F238E27FC236}">
                  <a16:creationId xmlns:a16="http://schemas.microsoft.com/office/drawing/2014/main" id="{DD5803B4-9800-4E61-A1AE-C7BC7EDE78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51662" y="1184065"/>
              <a:ext cx="337570" cy="377171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88E672A-5D82-40BB-B9DF-4DAC97A83188}"/>
              </a:ext>
            </a:extLst>
          </p:cNvPr>
          <p:cNvCxnSpPr/>
          <p:nvPr/>
        </p:nvCxnSpPr>
        <p:spPr>
          <a:xfrm>
            <a:off x="4414474" y="2722218"/>
            <a:ext cx="89182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BABC0979-C8F7-492A-B7B9-7B350C64251B}"/>
              </a:ext>
            </a:extLst>
          </p:cNvPr>
          <p:cNvCxnSpPr/>
          <p:nvPr/>
        </p:nvCxnSpPr>
        <p:spPr>
          <a:xfrm>
            <a:off x="6598874" y="2731867"/>
            <a:ext cx="89182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E17A071-A113-4A99-AB11-8ADD8F1B3802}"/>
              </a:ext>
            </a:extLst>
          </p:cNvPr>
          <p:cNvSpPr/>
          <p:nvPr/>
        </p:nvSpPr>
        <p:spPr>
          <a:xfrm>
            <a:off x="5085319" y="4150054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JOB SCHEDULER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81BBA7CE-5D2B-496C-B4FF-7FF4711BD31C}"/>
              </a:ext>
            </a:extLst>
          </p:cNvPr>
          <p:cNvSpPr/>
          <p:nvPr/>
        </p:nvSpPr>
        <p:spPr>
          <a:xfrm>
            <a:off x="7248132" y="4154828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NOTIFICATION &amp; LOGS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E3C1D40C-21EC-43D2-AC3A-E663BB21D149}"/>
              </a:ext>
            </a:extLst>
          </p:cNvPr>
          <p:cNvSpPr/>
          <p:nvPr/>
        </p:nvSpPr>
        <p:spPr>
          <a:xfrm>
            <a:off x="5385128" y="2642514"/>
            <a:ext cx="11739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SCIENTIST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C09F5361-6499-4020-B354-731B57771C6B}"/>
              </a:ext>
            </a:extLst>
          </p:cNvPr>
          <p:cNvSpPr/>
          <p:nvPr/>
        </p:nvSpPr>
        <p:spPr>
          <a:xfrm>
            <a:off x="7653681" y="2629546"/>
            <a:ext cx="14138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BUSINESS ANALYS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6B716EB-A1B9-4E4F-BE0E-11CC2D2CAAA8}"/>
              </a:ext>
            </a:extLst>
          </p:cNvPr>
          <p:cNvSpPr/>
          <p:nvPr/>
        </p:nvSpPr>
        <p:spPr>
          <a:xfrm>
            <a:off x="3085844" y="3754267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DC2C3294-024E-46E3-8278-479FA625786C}"/>
              </a:ext>
            </a:extLst>
          </p:cNvPr>
          <p:cNvSpPr/>
          <p:nvPr/>
        </p:nvSpPr>
        <p:spPr>
          <a:xfrm>
            <a:off x="3611561" y="3750864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C10FE34B-412D-4255-97F5-594A012EF537}"/>
              </a:ext>
            </a:extLst>
          </p:cNvPr>
          <p:cNvSpPr/>
          <p:nvPr/>
        </p:nvSpPr>
        <p:spPr>
          <a:xfrm>
            <a:off x="4100490" y="3750863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857B09A-3F9A-4431-BAD6-F42EE7CA39B9}"/>
              </a:ext>
            </a:extLst>
          </p:cNvPr>
          <p:cNvCxnSpPr>
            <a:cxnSpLocks/>
          </p:cNvCxnSpPr>
          <p:nvPr/>
        </p:nvCxnSpPr>
        <p:spPr>
          <a:xfrm>
            <a:off x="3360275" y="3888078"/>
            <a:ext cx="2310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Arrow Connector 236">
            <a:extLst>
              <a:ext uri="{FF2B5EF4-FFF2-40B4-BE49-F238E27FC236}">
                <a16:creationId xmlns:a16="http://schemas.microsoft.com/office/drawing/2014/main" id="{C96F85CD-F47F-4D7C-AE8A-699F856E0492}"/>
              </a:ext>
            </a:extLst>
          </p:cNvPr>
          <p:cNvCxnSpPr>
            <a:cxnSpLocks/>
          </p:cNvCxnSpPr>
          <p:nvPr/>
        </p:nvCxnSpPr>
        <p:spPr>
          <a:xfrm>
            <a:off x="3885992" y="3879463"/>
            <a:ext cx="2310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phic 22" descr="Clock">
            <a:extLst>
              <a:ext uri="{FF2B5EF4-FFF2-40B4-BE49-F238E27FC236}">
                <a16:creationId xmlns:a16="http://schemas.microsoft.com/office/drawing/2014/main" id="{C56B9A26-1B83-4BC1-9C65-C2695913F2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4899" y="3620535"/>
            <a:ext cx="546696" cy="546696"/>
          </a:xfrm>
          <a:prstGeom prst="rect">
            <a:avLst/>
          </a:prstGeom>
        </p:spPr>
      </p:pic>
      <p:pic>
        <p:nvPicPr>
          <p:cNvPr id="25" name="Graphic 24" descr="Warning">
            <a:extLst>
              <a:ext uri="{FF2B5EF4-FFF2-40B4-BE49-F238E27FC236}">
                <a16:creationId xmlns:a16="http://schemas.microsoft.com/office/drawing/2014/main" id="{5A565B5D-4600-438D-AA6F-3005969C35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18651" y="3659103"/>
            <a:ext cx="493022" cy="493022"/>
          </a:xfrm>
          <a:prstGeom prst="rect">
            <a:avLst/>
          </a:prstGeom>
        </p:spPr>
      </p:pic>
      <p:sp>
        <p:nvSpPr>
          <p:cNvPr id="238" name="TextBox 237">
            <a:extLst>
              <a:ext uri="{FF2B5EF4-FFF2-40B4-BE49-F238E27FC236}">
                <a16:creationId xmlns:a16="http://schemas.microsoft.com/office/drawing/2014/main" id="{10CEAE7D-7680-48CF-964E-5FB8BB311FF1}"/>
              </a:ext>
            </a:extLst>
          </p:cNvPr>
          <p:cNvSpPr txBox="1"/>
          <p:nvPr/>
        </p:nvSpPr>
        <p:spPr>
          <a:xfrm>
            <a:off x="4662593" y="6294008"/>
            <a:ext cx="30391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uild on secure &amp; trusted cloud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0DC95295-3153-41CE-A498-01DB75AD0167}"/>
              </a:ext>
            </a:extLst>
          </p:cNvPr>
          <p:cNvSpPr txBox="1"/>
          <p:nvPr/>
        </p:nvSpPr>
        <p:spPr>
          <a:xfrm>
            <a:off x="9133531" y="6296636"/>
            <a:ext cx="19521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cale without limi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E83755-E6EE-4BD9-8BCF-D815709AAA34}"/>
              </a:ext>
            </a:extLst>
          </p:cNvPr>
          <p:cNvSpPr/>
          <p:nvPr/>
        </p:nvSpPr>
        <p:spPr>
          <a:xfrm>
            <a:off x="230201" y="5958108"/>
            <a:ext cx="11784254" cy="215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4" name="Right Brace 3">
            <a:extLst>
              <a:ext uri="{FF2B5EF4-FFF2-40B4-BE49-F238E27FC236}">
                <a16:creationId xmlns:a16="http://schemas.microsoft.com/office/drawing/2014/main" id="{4AD90AEC-EFA0-4579-BB2F-D5E445BD03C3}"/>
              </a:ext>
            </a:extLst>
          </p:cNvPr>
          <p:cNvSpPr/>
          <p:nvPr/>
        </p:nvSpPr>
        <p:spPr>
          <a:xfrm rot="5400000">
            <a:off x="5964855" y="398866"/>
            <a:ext cx="271640" cy="11408939"/>
          </a:xfrm>
          <a:prstGeom prst="rightBrace">
            <a:avLst>
              <a:gd name="adj1" fmla="val 48460"/>
              <a:gd name="adj2" fmla="val 49841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83" name="Title 1">
            <a:extLst>
              <a:ext uri="{FF2B5EF4-FFF2-40B4-BE49-F238E27FC236}">
                <a16:creationId xmlns:a16="http://schemas.microsoft.com/office/drawing/2014/main" id="{E4B4DC97-3EBB-4DA5-B8DF-1E36FFBF55BB}"/>
              </a:ext>
            </a:extLst>
          </p:cNvPr>
          <p:cNvSpPr txBox="1">
            <a:spLocks/>
          </p:cNvSpPr>
          <p:nvPr/>
        </p:nvSpPr>
        <p:spPr>
          <a:xfrm>
            <a:off x="268080" y="277696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rm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800" normalizeH="0" baseline="0" noProof="0" dirty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rPr>
              <a:t>Azure </a:t>
            </a:r>
            <a:r>
              <a:rPr kumimoji="0" lang="en-US" sz="2400" b="0" i="0" u="none" strike="noStrike" kern="1200" cap="all" spc="800" normalizeH="0" baseline="0" noProof="0" dirty="0" err="1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rPr>
              <a:t>Databricks</a:t>
            </a:r>
            <a:endParaRPr kumimoji="0" lang="en-US" sz="2400" b="0" i="0" u="none" strike="noStrike" kern="1200" cap="all" spc="800" normalizeH="0" baseline="0" noProof="0" dirty="0">
              <a:ln w="3175">
                <a:noFill/>
              </a:ln>
              <a:solidFill>
                <a:srgbClr val="0078D7"/>
              </a:solidFill>
              <a:effectLst/>
              <a:uLnTx/>
              <a:uFillTx/>
              <a:latin typeface="Segoe UI Light" charset="0"/>
              <a:ea typeface="+mn-ea"/>
              <a:cs typeface="Segoe U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14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pache Spark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7901" y="2496502"/>
            <a:ext cx="3660455" cy="289466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110472" marR="0" lvl="1" indent="0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park Unifies: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tch Processing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ractive SQL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al-time processing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chine Learning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ep Learning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raph Process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Segoe UI Semilight" panose="020B0402040204020203" pitchFamily="34" charset="0"/>
              </a:rPr>
              <a:t>An unified, open source, parallel, data processing framework for Big Data Analytics 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4572628" y="4062871"/>
            <a:ext cx="6831313" cy="6413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Segoe UI" panose="020B0502040204020203" pitchFamily="34" charset="0"/>
                <a:cs typeface="Segoe UI" panose="020B0502040204020203" pitchFamily="34" charset="0"/>
              </a:rPr>
              <a:t>Spark Core Engine</a:t>
            </a:r>
          </a:p>
        </p:txBody>
      </p:sp>
      <p:sp>
        <p:nvSpPr>
          <p:cNvPr id="9" name="Pentagon 8"/>
          <p:cNvSpPr/>
          <p:nvPr/>
        </p:nvSpPr>
        <p:spPr bwMode="auto">
          <a:xfrm rot="5400000">
            <a:off x="4484520" y="2212903"/>
            <a:ext cx="1939121" cy="1760817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Pentagon 9"/>
          <p:cNvSpPr/>
          <p:nvPr/>
        </p:nvSpPr>
        <p:spPr bwMode="auto">
          <a:xfrm rot="5400000">
            <a:off x="6229251" y="2230034"/>
            <a:ext cx="1939121" cy="1726553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entagon 10"/>
          <p:cNvSpPr/>
          <p:nvPr/>
        </p:nvSpPr>
        <p:spPr bwMode="auto">
          <a:xfrm rot="5400000">
            <a:off x="7960797" y="2225043"/>
            <a:ext cx="1939121" cy="1736538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Pentagon 11"/>
          <p:cNvSpPr/>
          <p:nvPr/>
        </p:nvSpPr>
        <p:spPr bwMode="auto">
          <a:xfrm rot="5400000">
            <a:off x="9646693" y="2274557"/>
            <a:ext cx="1933112" cy="1628451"/>
          </a:xfrm>
          <a:prstGeom prst="homePlate">
            <a:avLst>
              <a:gd name="adj" fmla="val 53771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36776" y="2120430"/>
            <a:ext cx="1723132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QL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ractive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Queries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299331" y="5062603"/>
            <a:ext cx="1749787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MLlib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chine</a:t>
            </a:r>
            <a:b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587728" y="4855545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arn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7009519" y="4861180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so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9388384" y="4855545"/>
            <a:ext cx="2015557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ndalone Schedul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9DA6CC8-CF47-4A2C-B5A7-C89B85BD5E1C}"/>
              </a:ext>
            </a:extLst>
          </p:cNvPr>
          <p:cNvSpPr txBox="1"/>
          <p:nvPr/>
        </p:nvSpPr>
        <p:spPr>
          <a:xfrm>
            <a:off x="6584689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MLlib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chine </a:t>
            </a:r>
            <a:b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169BEF-B5CD-49D3-9118-41329373C8D3}"/>
              </a:ext>
            </a:extLst>
          </p:cNvPr>
          <p:cNvSpPr txBox="1"/>
          <p:nvPr/>
        </p:nvSpPr>
        <p:spPr>
          <a:xfrm>
            <a:off x="8311242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EF491E-BE97-4CC0-974F-2E7B1641AC6B}"/>
              </a:ext>
            </a:extLst>
          </p:cNvPr>
          <p:cNvSpPr txBox="1"/>
          <p:nvPr/>
        </p:nvSpPr>
        <p:spPr>
          <a:xfrm>
            <a:off x="10014326" y="2087048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raphX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raph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ut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E0CA26E-CC6D-4465-8850-A80D40985754}"/>
              </a:ext>
            </a:extLst>
          </p:cNvPr>
          <p:cNvCxnSpPr>
            <a:cxnSpLocks/>
          </p:cNvCxnSpPr>
          <p:nvPr/>
        </p:nvCxnSpPr>
        <p:spPr>
          <a:xfrm>
            <a:off x="6334489" y="2120430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579B420-4FD6-4417-82C6-F6CE74C0ECE5}"/>
              </a:ext>
            </a:extLst>
          </p:cNvPr>
          <p:cNvCxnSpPr>
            <a:cxnSpLocks/>
          </p:cNvCxnSpPr>
          <p:nvPr/>
        </p:nvCxnSpPr>
        <p:spPr>
          <a:xfrm>
            <a:off x="8049561" y="212270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D676F4-57AE-43CD-B95A-6100BDD28241}"/>
              </a:ext>
            </a:extLst>
          </p:cNvPr>
          <p:cNvCxnSpPr>
            <a:cxnSpLocks/>
          </p:cNvCxnSpPr>
          <p:nvPr/>
        </p:nvCxnSpPr>
        <p:spPr>
          <a:xfrm>
            <a:off x="9805578" y="213862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A1AFF8AC-D8FF-4E34-9441-5E35054C338F}"/>
                  </a:ext>
                </a:extLst>
              </p14:cNvPr>
              <p14:cNvContentPartPr/>
              <p14:nvPr/>
            </p14:nvContentPartPr>
            <p14:xfrm>
              <a:off x="6551529" y="1983283"/>
              <a:ext cx="1357920" cy="220860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A1AFF8AC-D8FF-4E34-9441-5E35054C338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42529" y="1974643"/>
                <a:ext cx="1375560" cy="22262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9762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pache Spark </a:t>
            </a:r>
            <a:r>
              <a:rPr lang="en-US" sz="2400" cap="all" spc="800" dirty="0" err="1">
                <a:solidFill>
                  <a:srgbClr val="0078D7"/>
                </a:solidFill>
                <a:latin typeface="Segoe UI Light" charset="0"/>
                <a:cs typeface="Segoe UI Light" charset="0"/>
              </a:rPr>
              <a:t>MLlib</a:t>
            </a: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7901" y="1554906"/>
            <a:ext cx="6614785" cy="38362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stributed algorithms that scale linearly with data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lgorithms </a:t>
            </a: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ver most of the use cases, include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chine Learning workflow utilitie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gration to Spark Dataframe started with 1.3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ontribution by 75+ org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uilt around the concept of Pipeline (</a:t>
            </a:r>
            <a:r>
              <a:rPr kumimoji="0" lang="en-US" sz="1600" b="0" i="0" u="none" strike="noStrike" kern="120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cikit</a:t>
            </a: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– Learn)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gile Modeling Process</a:t>
            </a:r>
            <a:endParaRPr kumimoji="0" lang="en-US" sz="16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Segoe UI Semilight" panose="020B0402040204020203" pitchFamily="34" charset="0"/>
              </a:rPr>
              <a:t>Scalable Machine Learning Library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B2751A-3961-4F6D-A4CD-A95F0B7B1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0641" y="2042985"/>
            <a:ext cx="2630260" cy="295470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01AB66E-7E56-480E-9BE7-8A5105C4C5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7492" y="2926701"/>
            <a:ext cx="2156051" cy="196860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C86D0E7B-CDAF-45EC-92FA-9BCC21ADFC30}"/>
                  </a:ext>
                </a:extLst>
              </p14:cNvPr>
              <p14:cNvContentPartPr/>
              <p14:nvPr/>
            </p14:nvContentPartPr>
            <p14:xfrm>
              <a:off x="4321329" y="1903363"/>
              <a:ext cx="3670560" cy="908280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C86D0E7B-CDAF-45EC-92FA-9BCC21ADFC30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312689" y="1894723"/>
                <a:ext cx="3688200" cy="925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3282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Machine Learning Model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light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1455D1-0A07-49A1-ABBE-171609108852}"/>
              </a:ext>
            </a:extLst>
          </p:cNvPr>
          <p:cNvSpPr txBox="1"/>
          <p:nvPr/>
        </p:nvSpPr>
        <p:spPr>
          <a:xfrm>
            <a:off x="310874" y="1774371"/>
            <a:ext cx="3956326" cy="523835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The process of training an ML </a:t>
            </a:r>
            <a:r>
              <a:rPr lang="en-US" b="1" dirty="0"/>
              <a:t>model</a:t>
            </a:r>
            <a:r>
              <a:rPr lang="en-US" dirty="0"/>
              <a:t> involves providing an ML algorithm (that is, the </a:t>
            </a:r>
            <a:r>
              <a:rPr lang="en-US" b="1" dirty="0"/>
              <a:t>learning</a:t>
            </a:r>
            <a:r>
              <a:rPr lang="en-US" dirty="0"/>
              <a:t> algorithm) with training data to learn from. The term ML </a:t>
            </a:r>
            <a:r>
              <a:rPr lang="en-US" b="1" dirty="0"/>
              <a:t>model</a:t>
            </a:r>
            <a:r>
              <a:rPr lang="en-US" dirty="0"/>
              <a:t> refers to the </a:t>
            </a:r>
            <a:r>
              <a:rPr lang="en-US" b="1" dirty="0"/>
              <a:t>model</a:t>
            </a:r>
            <a:r>
              <a:rPr lang="en-US" dirty="0"/>
              <a:t> artifact that is created by the training process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Model is a Mathematical Function f(x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g.</a:t>
            </a: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ear Regression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 = b0 + b1X1 + b2X2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55D1EA-7F79-4F1B-9834-79A9E0F8A9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0479" y="1674360"/>
            <a:ext cx="3770489" cy="24458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51975EE-FC05-42D6-A0F4-6600F37814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4354756"/>
            <a:ext cx="3824968" cy="1926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21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>
            <a:extLst>
              <a:ext uri="{FF2B5EF4-FFF2-40B4-BE49-F238E27FC236}">
                <a16:creationId xmlns:a16="http://schemas.microsoft.com/office/drawing/2014/main" id="{4DFDE572-6F62-4BA5-9987-9A9C6FA22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04" y="295275"/>
            <a:ext cx="11888047" cy="917575"/>
          </a:xfrm>
        </p:spPr>
        <p:txBody>
          <a:bodyPr/>
          <a:lstStyle/>
          <a:p>
            <a:r>
              <a:rPr lang="en-US" dirty="0"/>
              <a:t>Modeling Data Science Proces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030C05-E8D7-45FE-A612-FC67C236B10F}"/>
              </a:ext>
            </a:extLst>
          </p:cNvPr>
          <p:cNvSpPr/>
          <p:nvPr/>
        </p:nvSpPr>
        <p:spPr>
          <a:xfrm>
            <a:off x="948697" y="2252550"/>
            <a:ext cx="1722219" cy="914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rPr>
              <a:t>Define Objectiv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7B050E2-467C-4243-98EB-D05915669FDE}"/>
              </a:ext>
            </a:extLst>
          </p:cNvPr>
          <p:cNvSpPr/>
          <p:nvPr/>
        </p:nvSpPr>
        <p:spPr>
          <a:xfrm>
            <a:off x="948698" y="3595766"/>
            <a:ext cx="1720447" cy="914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rPr>
              <a:t>Access and Understand the dat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CD42FC8-660C-45AD-B6BB-4B81C8204270}"/>
              </a:ext>
            </a:extLst>
          </p:cNvPr>
          <p:cNvSpPr/>
          <p:nvPr/>
        </p:nvSpPr>
        <p:spPr>
          <a:xfrm>
            <a:off x="946927" y="4872010"/>
            <a:ext cx="1736355" cy="914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rPr>
              <a:t>Pre-process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01FC07-5319-4EAA-A540-371A01573809}"/>
              </a:ext>
            </a:extLst>
          </p:cNvPr>
          <p:cNvSpPr txBox="1"/>
          <p:nvPr/>
        </p:nvSpPr>
        <p:spPr>
          <a:xfrm>
            <a:off x="2300113" y="4821188"/>
            <a:ext cx="453519" cy="498988"/>
          </a:xfrm>
          <a:prstGeom prst="rect">
            <a:avLst/>
          </a:prstGeom>
          <a:noFill/>
        </p:spPr>
        <p:txBody>
          <a:bodyPr wrap="none" lIns="186471" tIns="149177" rIns="186471" bIns="149177" rtlCol="0">
            <a:spAutoFit/>
          </a:bodyPr>
          <a:lstStyle/>
          <a:p>
            <a:pPr marL="0" marR="0" lvl="0" indent="0" defTabSz="932649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*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A027F62-899F-40E5-BD3E-7B3F357E1750}"/>
              </a:ext>
            </a:extLst>
          </p:cNvPr>
          <p:cNvSpPr/>
          <p:nvPr/>
        </p:nvSpPr>
        <p:spPr bwMode="auto">
          <a:xfrm>
            <a:off x="5366911" y="1113158"/>
            <a:ext cx="2322554" cy="801415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Historical Data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features + labels]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C829D37-F59B-4CAD-BBA2-4623B11C645D}"/>
              </a:ext>
            </a:extLst>
          </p:cNvPr>
          <p:cNvSpPr/>
          <p:nvPr/>
        </p:nvSpPr>
        <p:spPr bwMode="auto">
          <a:xfrm>
            <a:off x="4043772" y="2948291"/>
            <a:ext cx="2322554" cy="801415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Training Data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features + labels]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21CA3EB-214D-44BD-8401-921A0255FB5A}"/>
              </a:ext>
            </a:extLst>
          </p:cNvPr>
          <p:cNvSpPr/>
          <p:nvPr/>
        </p:nvSpPr>
        <p:spPr bwMode="auto">
          <a:xfrm>
            <a:off x="6715292" y="2948291"/>
            <a:ext cx="2322554" cy="801415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Testing Data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features + labels]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436F42B-4211-4851-8E3A-1B013B9D7DF8}"/>
              </a:ext>
            </a:extLst>
          </p:cNvPr>
          <p:cNvSpPr/>
          <p:nvPr/>
        </p:nvSpPr>
        <p:spPr bwMode="auto">
          <a:xfrm>
            <a:off x="9869729" y="1156076"/>
            <a:ext cx="1810636" cy="801415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Future Data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features only]</a:t>
            </a:r>
          </a:p>
        </p:txBody>
      </p:sp>
      <p:sp>
        <p:nvSpPr>
          <p:cNvPr id="37" name="Diamond 36">
            <a:extLst>
              <a:ext uri="{FF2B5EF4-FFF2-40B4-BE49-F238E27FC236}">
                <a16:creationId xmlns:a16="http://schemas.microsoft.com/office/drawing/2014/main" id="{F821A949-8ABA-4530-A46E-0CA7B608FEBA}"/>
              </a:ext>
            </a:extLst>
          </p:cNvPr>
          <p:cNvSpPr/>
          <p:nvPr/>
        </p:nvSpPr>
        <p:spPr bwMode="auto">
          <a:xfrm>
            <a:off x="5691569" y="2173181"/>
            <a:ext cx="1673239" cy="757535"/>
          </a:xfrm>
          <a:prstGeom prst="diamond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pli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F4C147D-AA9E-4178-97DD-DD1F54F1D6B0}"/>
              </a:ext>
            </a:extLst>
          </p:cNvPr>
          <p:cNvSpPr/>
          <p:nvPr/>
        </p:nvSpPr>
        <p:spPr bwMode="auto">
          <a:xfrm>
            <a:off x="5691570" y="4038032"/>
            <a:ext cx="1924484" cy="68664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Train Model 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model learns from training data]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9D857C0-6C38-4DC0-8AEB-CA6A944B26C2}"/>
              </a:ext>
            </a:extLst>
          </p:cNvPr>
          <p:cNvSpPr/>
          <p:nvPr/>
        </p:nvSpPr>
        <p:spPr bwMode="auto">
          <a:xfrm>
            <a:off x="5691569" y="4861974"/>
            <a:ext cx="1938621" cy="69145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core Model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model predicts on testing data]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B24197D-48E4-4AFF-BA31-A1E2BA0637E3}"/>
              </a:ext>
            </a:extLst>
          </p:cNvPr>
          <p:cNvSpPr/>
          <p:nvPr/>
        </p:nvSpPr>
        <p:spPr bwMode="auto">
          <a:xfrm>
            <a:off x="5637158" y="5690781"/>
            <a:ext cx="1938621" cy="67846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Evaluate Model 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Compare predicted results and true labels]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C0A13C-C647-4531-BF38-3E2B6C1A639C}"/>
              </a:ext>
            </a:extLst>
          </p:cNvPr>
          <p:cNvSpPr/>
          <p:nvPr/>
        </p:nvSpPr>
        <p:spPr bwMode="auto">
          <a:xfrm>
            <a:off x="9316237" y="4035621"/>
            <a:ext cx="1938621" cy="69145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core Model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model predicts on future data]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52BD49F-151B-4771-A504-62191AFBD3CF}"/>
              </a:ext>
            </a:extLst>
          </p:cNvPr>
          <p:cNvSpPr/>
          <p:nvPr/>
        </p:nvSpPr>
        <p:spPr bwMode="auto">
          <a:xfrm>
            <a:off x="9124270" y="5070400"/>
            <a:ext cx="2322554" cy="801415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Prediction Result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4CE6A412-488D-464D-8F8D-E5B3D6E69786}"/>
              </a:ext>
            </a:extLst>
          </p:cNvPr>
          <p:cNvCxnSpPr>
            <a:stCxn id="33" idx="4"/>
            <a:endCxn id="37" idx="0"/>
          </p:cNvCxnSpPr>
          <p:nvPr/>
        </p:nvCxnSpPr>
        <p:spPr>
          <a:xfrm>
            <a:off x="6473776" y="1914572"/>
            <a:ext cx="0" cy="258609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30">
            <a:extLst>
              <a:ext uri="{FF2B5EF4-FFF2-40B4-BE49-F238E27FC236}">
                <a16:creationId xmlns:a16="http://schemas.microsoft.com/office/drawing/2014/main" id="{FDB7E62F-E6A1-4F00-A18C-751416690463}"/>
              </a:ext>
            </a:extLst>
          </p:cNvPr>
          <p:cNvCxnSpPr>
            <a:stCxn id="37" idx="1"/>
            <a:endCxn id="34" idx="0"/>
          </p:cNvCxnSpPr>
          <p:nvPr/>
        </p:nvCxnSpPr>
        <p:spPr>
          <a:xfrm rot="10800000" flipV="1">
            <a:off x="5150638" y="2551950"/>
            <a:ext cx="486520" cy="396341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32">
            <a:extLst>
              <a:ext uri="{FF2B5EF4-FFF2-40B4-BE49-F238E27FC236}">
                <a16:creationId xmlns:a16="http://schemas.microsoft.com/office/drawing/2014/main" id="{6B4DB5F4-4C03-4B27-ADC3-5722B1F940E1}"/>
              </a:ext>
            </a:extLst>
          </p:cNvPr>
          <p:cNvCxnSpPr>
            <a:stCxn id="37" idx="3"/>
            <a:endCxn id="35" idx="0"/>
          </p:cNvCxnSpPr>
          <p:nvPr/>
        </p:nvCxnSpPr>
        <p:spPr>
          <a:xfrm>
            <a:off x="7310397" y="2551950"/>
            <a:ext cx="511761" cy="396341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35">
            <a:extLst>
              <a:ext uri="{FF2B5EF4-FFF2-40B4-BE49-F238E27FC236}">
                <a16:creationId xmlns:a16="http://schemas.microsoft.com/office/drawing/2014/main" id="{A5311067-9816-4A03-BA60-252BDFB935C3}"/>
              </a:ext>
            </a:extLst>
          </p:cNvPr>
          <p:cNvCxnSpPr>
            <a:stCxn id="34" idx="4"/>
            <a:endCxn id="38" idx="1"/>
          </p:cNvCxnSpPr>
          <p:nvPr/>
        </p:nvCxnSpPr>
        <p:spPr>
          <a:xfrm rot="16200000" flipH="1">
            <a:off x="5078075" y="3822268"/>
            <a:ext cx="631646" cy="486520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38">
            <a:extLst>
              <a:ext uri="{FF2B5EF4-FFF2-40B4-BE49-F238E27FC236}">
                <a16:creationId xmlns:a16="http://schemas.microsoft.com/office/drawing/2014/main" id="{CCCE2420-1ACB-4250-A796-6B88E6E0C203}"/>
              </a:ext>
            </a:extLst>
          </p:cNvPr>
          <p:cNvCxnSpPr>
            <a:stCxn id="35" idx="4"/>
            <a:endCxn id="39" idx="3"/>
          </p:cNvCxnSpPr>
          <p:nvPr/>
        </p:nvCxnSpPr>
        <p:spPr>
          <a:xfrm rot="5400000">
            <a:off x="6969969" y="4355515"/>
            <a:ext cx="1457999" cy="246380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2">
            <a:extLst>
              <a:ext uri="{FF2B5EF4-FFF2-40B4-BE49-F238E27FC236}">
                <a16:creationId xmlns:a16="http://schemas.microsoft.com/office/drawing/2014/main" id="{A7D9B964-522A-4ECD-91F1-C18BA339E4B8}"/>
              </a:ext>
            </a:extLst>
          </p:cNvPr>
          <p:cNvCxnSpPr>
            <a:stCxn id="38" idx="3"/>
            <a:endCxn id="41" idx="1"/>
          </p:cNvCxnSpPr>
          <p:nvPr/>
        </p:nvCxnSpPr>
        <p:spPr>
          <a:xfrm flipV="1">
            <a:off x="7561643" y="4381352"/>
            <a:ext cx="175459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6">
            <a:extLst>
              <a:ext uri="{FF2B5EF4-FFF2-40B4-BE49-F238E27FC236}">
                <a16:creationId xmlns:a16="http://schemas.microsoft.com/office/drawing/2014/main" id="{32DE9E87-370C-47DD-AD29-59183F1C1FC1}"/>
              </a:ext>
            </a:extLst>
          </p:cNvPr>
          <p:cNvCxnSpPr>
            <a:cxnSpLocks/>
            <a:stCxn id="36" idx="4"/>
            <a:endCxn id="41" idx="0"/>
          </p:cNvCxnSpPr>
          <p:nvPr/>
        </p:nvCxnSpPr>
        <p:spPr>
          <a:xfrm rot="5400000">
            <a:off x="9491233" y="2751807"/>
            <a:ext cx="2078130" cy="489499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>
            <a:extLst>
              <a:ext uri="{FF2B5EF4-FFF2-40B4-BE49-F238E27FC236}">
                <a16:creationId xmlns:a16="http://schemas.microsoft.com/office/drawing/2014/main" id="{5CD5A913-CE08-46F1-AA72-6C3008E0144D}"/>
              </a:ext>
            </a:extLst>
          </p:cNvPr>
          <p:cNvCxnSpPr>
            <a:stCxn id="41" idx="2"/>
            <a:endCxn id="42" idx="0"/>
          </p:cNvCxnSpPr>
          <p:nvPr/>
        </p:nvCxnSpPr>
        <p:spPr>
          <a:xfrm rot="5400000">
            <a:off x="10113888" y="4898741"/>
            <a:ext cx="343319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4A5B8D3A-1570-49D7-9EB6-8BCFCE485C43}"/>
              </a:ext>
            </a:extLst>
          </p:cNvPr>
          <p:cNvCxnSpPr>
            <a:stCxn id="38" idx="2"/>
            <a:endCxn id="39" idx="0"/>
          </p:cNvCxnSpPr>
          <p:nvPr/>
        </p:nvCxnSpPr>
        <p:spPr>
          <a:xfrm>
            <a:off x="6599400" y="4724671"/>
            <a:ext cx="7068" cy="137304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44D8B187-E86C-4F14-92A3-26751FA1E079}"/>
              </a:ext>
            </a:extLst>
          </p:cNvPr>
          <p:cNvCxnSpPr>
            <a:stCxn id="39" idx="2"/>
            <a:endCxn id="40" idx="0"/>
          </p:cNvCxnSpPr>
          <p:nvPr/>
        </p:nvCxnSpPr>
        <p:spPr>
          <a:xfrm>
            <a:off x="6606467" y="5553432"/>
            <a:ext cx="0" cy="137346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33">
            <a:extLst>
              <a:ext uri="{FF2B5EF4-FFF2-40B4-BE49-F238E27FC236}">
                <a16:creationId xmlns:a16="http://schemas.microsoft.com/office/drawing/2014/main" id="{E39C8FEB-16D7-4C8A-84E2-560413D973D7}"/>
              </a:ext>
            </a:extLst>
          </p:cNvPr>
          <p:cNvCxnSpPr>
            <a:stCxn id="31" idx="3"/>
            <a:endCxn id="33" idx="2"/>
          </p:cNvCxnSpPr>
          <p:nvPr/>
        </p:nvCxnSpPr>
        <p:spPr>
          <a:xfrm flipV="1">
            <a:off x="2683281" y="1513865"/>
            <a:ext cx="2629219" cy="3815155"/>
          </a:xfrm>
          <a:prstGeom prst="bentConnector3">
            <a:avLst>
              <a:gd name="adj1" fmla="val 38587"/>
            </a:avLst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03DFFD61-6E71-4F16-9064-5D2321F45F8D}"/>
              </a:ext>
            </a:extLst>
          </p:cNvPr>
          <p:cNvCxnSpPr>
            <a:stCxn id="29" idx="2"/>
            <a:endCxn id="30" idx="0"/>
          </p:cNvCxnSpPr>
          <p:nvPr/>
        </p:nvCxnSpPr>
        <p:spPr>
          <a:xfrm flipH="1">
            <a:off x="1808921" y="3166575"/>
            <a:ext cx="885" cy="429191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7C5AFF3-AF82-4371-B6EB-56CD344A3054}"/>
              </a:ext>
            </a:extLst>
          </p:cNvPr>
          <p:cNvCxnSpPr>
            <a:stCxn id="30" idx="2"/>
            <a:endCxn id="31" idx="0"/>
          </p:cNvCxnSpPr>
          <p:nvPr/>
        </p:nvCxnSpPr>
        <p:spPr>
          <a:xfrm>
            <a:off x="1808921" y="4509789"/>
            <a:ext cx="6182" cy="362221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93" name="Ink 92">
                <a:extLst>
                  <a:ext uri="{FF2B5EF4-FFF2-40B4-BE49-F238E27FC236}">
                    <a16:creationId xmlns:a16="http://schemas.microsoft.com/office/drawing/2014/main" id="{31183D55-3652-4C11-B5C7-0E67154585D6}"/>
                  </a:ext>
                </a:extLst>
              </p14:cNvPr>
              <p14:cNvContentPartPr/>
              <p14:nvPr/>
            </p14:nvContentPartPr>
            <p14:xfrm>
              <a:off x="2428809" y="4043923"/>
              <a:ext cx="2912040" cy="2577960"/>
            </p14:xfrm>
          </p:contentPart>
        </mc:Choice>
        <mc:Fallback xmlns="">
          <p:pic>
            <p:nvPicPr>
              <p:cNvPr id="93" name="Ink 92">
                <a:extLst>
                  <a:ext uri="{FF2B5EF4-FFF2-40B4-BE49-F238E27FC236}">
                    <a16:creationId xmlns:a16="http://schemas.microsoft.com/office/drawing/2014/main" id="{31183D55-3652-4C11-B5C7-0E67154585D6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19809" y="4035282"/>
                <a:ext cx="2929680" cy="259560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11" name="Ink 110">
                <a:extLst>
                  <a:ext uri="{FF2B5EF4-FFF2-40B4-BE49-F238E27FC236}">
                    <a16:creationId xmlns:a16="http://schemas.microsoft.com/office/drawing/2014/main" id="{109B1369-274A-4CE5-BC0E-314D35D51BB7}"/>
                  </a:ext>
                </a:extLst>
              </p14:cNvPr>
              <p14:cNvContentPartPr/>
              <p14:nvPr/>
            </p14:nvContentPartPr>
            <p14:xfrm>
              <a:off x="242169" y="4584283"/>
              <a:ext cx="1717200" cy="2155320"/>
            </p14:xfrm>
          </p:contentPart>
        </mc:Choice>
        <mc:Fallback xmlns="">
          <p:pic>
            <p:nvPicPr>
              <p:cNvPr id="111" name="Ink 110">
                <a:extLst>
                  <a:ext uri="{FF2B5EF4-FFF2-40B4-BE49-F238E27FC236}">
                    <a16:creationId xmlns:a16="http://schemas.microsoft.com/office/drawing/2014/main" id="{109B1369-274A-4CE5-BC0E-314D35D51BB7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33527" y="4575283"/>
                <a:ext cx="1734844" cy="2172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41" name="Ink 140">
                <a:extLst>
                  <a:ext uri="{FF2B5EF4-FFF2-40B4-BE49-F238E27FC236}">
                    <a16:creationId xmlns:a16="http://schemas.microsoft.com/office/drawing/2014/main" id="{5DC3BBB4-4ADC-4F16-9891-FCBEA1061FCA}"/>
                  </a:ext>
                </a:extLst>
              </p14:cNvPr>
              <p14:cNvContentPartPr/>
              <p14:nvPr/>
            </p14:nvContentPartPr>
            <p14:xfrm>
              <a:off x="7778769" y="608083"/>
              <a:ext cx="4283640" cy="6117840"/>
            </p14:xfrm>
          </p:contentPart>
        </mc:Choice>
        <mc:Fallback xmlns="">
          <p:pic>
            <p:nvPicPr>
              <p:cNvPr id="141" name="Ink 140">
                <a:extLst>
                  <a:ext uri="{FF2B5EF4-FFF2-40B4-BE49-F238E27FC236}">
                    <a16:creationId xmlns:a16="http://schemas.microsoft.com/office/drawing/2014/main" id="{5DC3BBB4-4ADC-4F16-9891-FCBEA1061FCA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770129" y="599443"/>
                <a:ext cx="4301280" cy="61354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62592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2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3.xml><?xml version="1.0" encoding="utf-8"?>
<a:theme xmlns:a="http://schemas.openxmlformats.org/drawingml/2006/main" name="IoT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oT" id="{1A28EA9D-8FA7-4685-9C12-B90585D9DE45}" vid="{83CBEF95-E0D6-4CDE-BA6F-843577698027}"/>
    </a:ext>
  </a:extLst>
</a:theme>
</file>

<file path=ppt/theme/theme4.xml><?xml version="1.0" encoding="utf-8"?>
<a:theme xmlns:a="http://schemas.openxmlformats.org/drawingml/2006/main" name="2_ML">
  <a:themeElements>
    <a:clrScheme name="Custom 8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BCF2"/>
      </a:hlink>
      <a:folHlink>
        <a:srgbClr val="002050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An introduction to Azure Databricks &lt;a href="https://microsoft.sharepoint.com/sites/infopedia/media/details/aevd-3-128209"&gt;View recording session&lt;/a&gt;</DocumentDescription>
    <od9986d31974458fb3007746ec0bce5f xmlns="230e9df3-be65-4c73-a93b-d1236ebd677e">
      <Terms xmlns="http://schemas.microsoft.com/office/infopath/2007/PartnerControls"/>
    </od9986d31974458fb3007746ec0bce5f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raining materials</TermName>
          <TermId xmlns="http://schemas.microsoft.com/office/infopath/2007/PartnerControls">806588bc-f86d-4a67-aeb8-7206d3434c40</TermId>
        </TermInfo>
      </Terms>
    </hd9637eefc984b85b6097c6374e15725>
    <k20e0dfa74bf4e44818db03027b0ccd8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rtificial Intelligence and Research Group</TermName>
          <TermId xmlns="http://schemas.microsoft.com/office/infopath/2007/PartnerControls">bc53c690-bfc4-4b06-b08b-99b2bf5a2a45</TermId>
        </TermInfo>
      </Terms>
    </k20e0dfa74bf4e44818db03027b0ccd8>
    <Owner xmlns="230e9df3-be65-4c73-a93b-d1236ebd677e">
      <UserInfo>
        <DisplayName>Shelley Way</DisplayName>
        <AccountId>79</AccountId>
        <AccountType/>
      </UserInfo>
    </Owner>
    <PublishDate xmlns="230E9DF3-BE65-4C73-A93B-D1236EBD677E">2018-06-14T07:00:00+00:00</PublishDate>
    <k21a64daf20d4502b2796a1c6b8ce6c8 xmlns="230e9df3-be65-4c73-a93b-d1236ebd677e">
      <Terms xmlns="http://schemas.microsoft.com/office/infopath/2007/PartnerControls"/>
    </k21a64daf20d4502b2796a1c6b8ce6c8>
    <GenericHTML1 xmlns="230e9df3-be65-4c73-a93b-d1236ebd677e" xsi:nil="true"/>
    <Expire_x0020_Review xmlns="230e9df3-be65-4c73-a93b-d1236ebd677e">2019-06-14T07:00:00+00:00</Expire_x0020_Review>
    <l3c3ea61849e4288a8acc49bb5388e8c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Worldwide Readiness</TermName>
          <TermId xmlns="http://schemas.microsoft.com/office/infopath/2007/PartnerControls">c6595b84-b463-470a-bb46-2a47364645be</TermId>
        </TermInfo>
        <TermInfo xmlns="http://schemas.microsoft.com/office/infopath/2007/PartnerControls">
          <TermName xmlns="http://schemas.microsoft.com/office/infopath/2007/PartnerControls">Microsoft Azure Marketing</TermName>
          <TermId xmlns="http://schemas.microsoft.com/office/infopath/2007/PartnerControls">0958c357-5252-473f-8b4e-42f27525a99d</TermId>
        </TermInfo>
      </Terms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 users</TermName>
          <TermId xmlns="http://schemas.microsoft.com/office/infopath/2007/PartnerControls">461efa83-0283-486a-a8d5-943328f3693f</TermId>
        </TermInfo>
      </Terms>
    </ConfidentialityTaxHTField0>
    <Blog_x0020_Name xmlns="230e9df3-be65-4c73-a93b-d1236ebd677e" xsi:nil="true"/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loud and Enterprise</TermName>
          <TermId xmlns="http://schemas.microsoft.com/office/infopath/2007/PartnerControls">adc2fe87-c79a-4ded-a449-3f86b954069d</TermId>
        </TermInfo>
        <TermInfo xmlns="http://schemas.microsoft.com/office/infopath/2007/PartnerControls">
          <TermName xmlns="http://schemas.microsoft.com/office/infopath/2007/PartnerControls">Worldwide Readiness</TermName>
          <TermId xmlns="http://schemas.microsoft.com/office/infopath/2007/PartnerControls">c6595b84-b463-470a-bb46-2a47364645be</TermId>
        </TermInfo>
      </Terms>
    </eb54ac91059940029a3cc8a4ff5af673>
    <FolderExtensions xmlns="230e9df3-be65-4c73-a93b-d1236ebd677e" xsi:nil="true"/>
    <PublishingPageContent xmlns="http://schemas.microsoft.com/sharepoint/v3" xsi:nil="true"/>
    <ContentID xmlns="230e9df3-be65-4c73-a93b-d1236ebd677e" xsi:nil="true"/>
    <Coowner xmlns="230e9df3-be65-4c73-a93b-d1236ebd677e">
      <UserInfo>
        <DisplayName>i:0#.f|membership|v-danaja@microsoft.com</DisplayName>
        <AccountId>176</AccountId>
        <AccountType/>
      </UserInfo>
    </Coowner>
    <ef109fd36bcf4bcd9dd945731030600b xmlns="230e9df3-be65-4c73-a93b-d1236ebd677e">
      <Terms xmlns="http://schemas.microsoft.com/office/infopath/2007/PartnerControls"/>
    </ef109fd36bcf4bcd9dd945731030600b>
    <ApplyWorkflowRules xmlns="230E9DF3-BE65-4C73-A93B-D1236EBD677E">Yes</ApplyWorkflowRules>
    <bf80e81150e248c48aa8cffdf0021a1f xmlns="230e9df3-be65-4c73-a93b-d1236ebd677e">
      <Terms xmlns="http://schemas.microsoft.com/office/infopath/2007/PartnerControls"/>
    </bf80e81150e248c48aa8cffdf0021a1f>
    <ec5b2ad5c27b45fb8a00a1f27c7ce1ae xmlns="230e9df3-be65-4c73-a93b-d1236ebd677e">
      <Terms xmlns="http://schemas.microsoft.com/office/infopath/2007/PartnerControls"/>
    </ec5b2ad5c27b45fb8a00a1f27c7ce1ae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s://microsoft.sharepoint.com/sites/Infopedia_G01KC/Style%20Library/Thumbnails/G01KC-2-1217/Creating%20Custom%20AI%20Solutions%20with%20Azure%20Databricks.png</Url>
      <Description>/sites/Infopedia_G01KC/Style Library/Thumbnails/G01KC-2-1217/Creating Custom AI Solutions with Azure Databricks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rtificial intelligence</TermName>
          <TermId xmlns="http://schemas.microsoft.com/office/infopath/2007/PartnerControls">11fa0c26-d93f-4fa8-9b81-cf60b8e62d0c</TermId>
        </TermInfo>
        <TermInfo xmlns="http://schemas.microsoft.com/office/infopath/2007/PartnerControls">
          <TermName xmlns="http://schemas.microsoft.com/office/infopath/2007/PartnerControls">machine learning</TermName>
          <TermId xmlns="http://schemas.microsoft.com/office/infopath/2007/PartnerControls">912b89bd-3197-4d37-838b-dea3c299099a</TermId>
        </TermInfo>
        <TermInfo xmlns="http://schemas.microsoft.com/office/infopath/2007/PartnerControls">
          <TermName xmlns="http://schemas.microsoft.com/office/infopath/2007/PartnerControls">Data and AI</TermName>
          <TermId xmlns="http://schemas.microsoft.com/office/infopath/2007/PartnerControls">60d86926-9fc6-4873-ad19-e15bf82160d7</TermId>
        </TermInfo>
      </Terms>
    </i0d941ee1e744ffea7aeee9924c91cbb>
    <RoutingRuleDescription xmlns="http://schemas.microsoft.com/sharepoint/v3" xsi:nil="true"/>
    <PublishingExpirationDate xmlns="http://schemas.microsoft.com/sharepoint/v3" xsi:nil="true"/>
    <ga0c0bf70a6644469c61b3efa7025301 xmlns="230e9df3-be65-4c73-a93b-d1236ebd677e">
      <Terms xmlns="http://schemas.microsoft.com/office/infopath/2007/PartnerControls"/>
    </ga0c0bf70a6644469c61b3efa7025301>
    <ReportOwner xmlns="http://schemas.microsoft.com/sharepoint/v3">
      <UserInfo>
        <DisplayName/>
        <AccountId xsi:nil="true"/>
        <AccountType/>
      </UserInfo>
    </ReportOwner>
    <i1b478372f814787abd313030b81fcb2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lligent Cloud</TermName>
          <TermId xmlns="http://schemas.microsoft.com/office/infopath/2007/PartnerControls">657064bb-35a2-46dd-babb-ff4e84e62f8c</TermId>
        </TermInfo>
      </Terms>
    </i1b478372f814787abd313030b81fcb2>
    <TaxKeywordTaxHTField xmlns="230e9df3-be65-4c73-a93b-d1236ebd677e">
      <Terms xmlns="http://schemas.microsoft.com/office/infopath/2007/PartnerControls"/>
    </TaxKeywordTaxHTField>
    <b4224c12c78d42ea9b214de0badf8358 xmlns="230e9df3-be65-4c73-a93b-d1236ebd677e">
      <Terms xmlns="http://schemas.microsoft.com/office/infopath/2007/PartnerControls"/>
    </b4224c12c78d42ea9b214de0badf8358>
    <TaxCatchAll xmlns="230e9df3-be65-4c73-a93b-d1236ebd677e">
      <Value>36</Value>
      <Value>35</Value>
      <Value>34</Value>
      <Value>31</Value>
      <Value>29</Value>
      <Value>2325</Value>
      <Value>2182</Value>
      <Value>21</Value>
      <Value>2236</Value>
      <Value>342</Value>
      <Value>2559</Value>
      <Value>5</Value>
      <Value>374</Value>
      <Value>222</Value>
    </TaxCatchAll>
    <Update_x0020_Parent_x0020_Child_x0020_Relation_x0020_for_x0020_KCDOCs2 xmlns="1c7e1a94-f886-43f0-af7a-031cdfff3ff3">
      <Url>https://microsoft.sharepoint.com/sites/Infopedia_G01KC/_layouts/15/wrkstat.aspx?List=1c7e1a94-f886-43f0-af7a-031cdfff3ff3&amp;WorkflowInstanceName=03c8f206-944f-4f9e-932d-f559141e2cd5</Url>
      <Description>Update Parent Child Relation for KCDOCs2</Description>
    </Update_x0020_Parent_x0020_Child_x0020_Relation_x0020_for_x0020_KCDOCs2>
    <mb88723863e1404388ba3733387d48df xmlns="230e9df3-be65-4c73-a93b-d1236ebd677e">
      <Terms xmlns="http://schemas.microsoft.com/office/infopath/2007/PartnerControls"/>
    </mb88723863e1404388ba3733387d48df>
    <ParentID1 xmlns="230e9df3-be65-4c73-a93b-d1236ebd677e">G01KC-2-1209</ParentID1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zure platform</TermName>
          <TermId xmlns="http://schemas.microsoft.com/office/infopath/2007/PartnerControls">df6aaec2-d07c-4319-b510-15a691aea35b</TermId>
        </TermInfo>
        <TermInfo xmlns="http://schemas.microsoft.com/office/infopath/2007/PartnerControls">
          <TermName xmlns="http://schemas.microsoft.com/office/infopath/2007/PartnerControls">features</TermName>
          <TermId xmlns="http://schemas.microsoft.com/office/infopath/2007/PartnerControls">94b87768-f145-4764-adbd-fec700e47348</TermId>
        </TermInfo>
        <TermInfo xmlns="http://schemas.microsoft.com/office/infopath/2007/PartnerControls">
          <TermName xmlns="http://schemas.microsoft.com/office/infopath/2007/PartnerControls">readiness</TermName>
          <TermId xmlns="http://schemas.microsoft.com/office/infopath/2007/PartnerControls">0bad9107-5243-4424-8599-de9537dda9af</TermId>
        </TermInfo>
      </Terms>
    </m6c7b4717b6346e6a075a59dd47eac69>
    <GenericText2 xmlns="230e9df3-be65-4c73-a93b-d1236ebd677e" xsi:nil="true"/>
    <_dlc_DocId xmlns="230e9df3-be65-4c73-a93b-d1236ebd677e">G01KC-1878465518-1217</_dlc_DocId>
    <_dlc_DocIdUrl xmlns="230e9df3-be65-4c73-a93b-d1236ebd677e">
      <Url>https://microsoft.sharepoint.com/sites/Infopedia_G01KC/_layouts/15/DocIdRedir.aspx?ID=G01KC-1878465518-1217</Url>
      <Description>G01KC-1878465518-1217</Description>
    </_dlc_DocIdUrl>
    <_dlc_ExpireDateSaved xmlns="http://schemas.microsoft.com/sharepoint/v3" xsi:nil="true"/>
    <_dlc_ExpireDate xmlns="http://schemas.microsoft.com/sharepoint/v3">2019-06-14T07:00:00+00:00</_dlc_ExpireDat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p:Policy xmlns:p="office.server.policy" id="" local="true">
  <p:Name>SMSG KM Open Document</p:Name>
  <p:Description/>
  <p:Statement/>
  <p:PolicyItems>
    <p:PolicyItem featureId="Microsoft.Office.RecordsManagement.PolicyFeatures.Expiration" staticId="0x0101000E4CB7077FEE4FF7AE86D4A500EEC780030016C849C62B10EB41ACA8C7EEDEF40BB2006A83F15B98C1FD4E8D76F6993277120D|-2104630519" UniqueId="7644ab00-0194-4713-bed7-07a1a8370af3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Microsoft.Office.RecordsManagement.PolicyFeatures.Expiration.Formula.BuiltIn">
                  <number>0</number>
                  <property>Expire_x0020_Review</property>
                  <propertyId>4efb7b69-53dd-4711-a372-96a7c80c7a38</propertyId>
                  <period>days</period>
                </formula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5.xml><?xml version="1.0" encoding="utf-8"?>
<?mso-contentType ?>
<SharedContentType xmlns="Microsoft.SharePoint.Taxonomy.ContentTypeSync" SourceId="e385fb40-52d4-4fae-9c5b-3e8ff8a5878e" ContentTypeId="0x0101000E4CB7077FEE4FF7AE86D4A500EEC780030016C849C62B10EB41ACA8C7EEDEF40BB2" PreviousValue="false"/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SMSG KM Open Document" ma:contentTypeID="0x0101000E4CB7077FEE4FF7AE86D4A500EEC780030016C849C62B10EB41ACA8C7EEDEF40BB2006A83F15B98C1FD4E8D76F6993277120D" ma:contentTypeVersion="36" ma:contentTypeDescription="" ma:contentTypeScope="" ma:versionID="ea62070e73627ed261dccb5fc742980c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230E9DF3-BE65-4C73-A93B-D1236EBD677E" xmlns:ns4="b3bc04a5-d503-43b1-b98c-a8cf663329d9" xmlns:ns5="1c7e1a94-f886-43f0-af7a-031cdfff3ff3" targetNamespace="http://schemas.microsoft.com/office/2006/metadata/properties" ma:root="true" ma:fieldsID="2d5fd911e1338750595046e52099feb0" ns1:_="" ns2:_="" ns3:_="" ns4:_="" ns5:_="">
    <xsd:import namespace="http://schemas.microsoft.com/sharepoint/v3"/>
    <xsd:import namespace="230e9df3-be65-4c73-a93b-d1236ebd677e"/>
    <xsd:import namespace="230E9DF3-BE65-4C73-A93B-D1236EBD677E"/>
    <xsd:import namespace="b3bc04a5-d503-43b1-b98c-a8cf663329d9"/>
    <xsd:import namespace="1c7e1a94-f886-43f0-af7a-031cdfff3ff3"/>
    <xsd:element name="properties">
      <xsd:complexType>
        <xsd:sequence>
          <xsd:element name="documentManagement">
            <xsd:complexType>
              <xsd:all>
                <xsd:element ref="ns1:RoutingRuleDescription" minOccurs="0"/>
                <xsd:element ref="ns2:DocumentDescription" minOccurs="0"/>
                <xsd:element ref="ns2:Owner" minOccurs="0"/>
                <xsd:element ref="ns3:PublishDate" minOccurs="0"/>
                <xsd:element ref="ns2:Expire_x0020_Review" minOccurs="0"/>
                <xsd:element ref="ns1:PublishingPageContent" minOccurs="0"/>
                <xsd:element ref="ns2:Thumbnail1" minOccurs="0"/>
                <xsd:element ref="ns1:AverageRating" minOccurs="0"/>
                <xsd:element ref="ns1:RatingCount" minOccurs="0"/>
                <xsd:element ref="ns1:PublishingExpirationDate" minOccurs="0"/>
                <xsd:element ref="ns3:ApplyWorkflowRules" minOccurs="0"/>
                <xsd:element ref="ns2:ContentID" minOccurs="0"/>
                <xsd:element ref="ns2:Blog_x0020_Name" minOccurs="0"/>
                <xsd:element ref="ns2:_dlc_DocIdPersistId" minOccurs="0"/>
                <xsd:element ref="ns2:eb54ac91059940029a3cc8a4ff5af673" minOccurs="0"/>
                <xsd:element ref="ns1:ReportOwner" minOccurs="0"/>
                <xsd:element ref="ns2:bf80e81150e248c48aa8cffdf0021a1f" minOccurs="0"/>
                <xsd:element ref="ns2:od9986d31974458fb3007746ec0bce5f" minOccurs="0"/>
                <xsd:element ref="ns2:k21a64daf20d4502b2796a1c6b8ce6c8" minOccurs="0"/>
                <xsd:element ref="ns2:ef109fd36bcf4bcd9dd945731030600b" minOccurs="0"/>
                <xsd:element ref="ns2:hd9637eefc984b85b6097c6374e15725" minOccurs="0"/>
                <xsd:element ref="ns2:ga0c0bf70a6644469c61b3efa7025301" minOccurs="0"/>
                <xsd:element ref="ns2:i1b478372f814787abd313030b81fcb2" minOccurs="0"/>
                <xsd:element ref="ns2:i0d941ee1e744ffea7aeee9924c91cbb" minOccurs="0"/>
                <xsd:element ref="ns2:m6d26e40ac264097a006193f92232ece" minOccurs="0"/>
                <xsd:element ref="ns2:kf34bcdc8fc34e479d3f94c6210e8e27" minOccurs="0"/>
                <xsd:element ref="ns2:mb88723863e1404388ba3733387d48df" minOccurs="0"/>
                <xsd:element ref="ns2:TaxCatchAll" minOccurs="0"/>
                <xsd:element ref="ns2:k20e0dfa74bf4e44818db03027b0ccd8" minOccurs="0"/>
                <xsd:element ref="ns2:l3c3ea61849e4288a8acc49bb5388e8c" minOccurs="0"/>
                <xsd:element ref="ns2:ec5b2ad5c27b45fb8a00a1f27c7ce1ae" minOccurs="0"/>
                <xsd:element ref="ns2:TaxCatchAllLabel" minOccurs="0"/>
                <xsd:element ref="ns2:b60f8d2dbb984f349d80d8196897f4d3" minOccurs="0"/>
                <xsd:element ref="ns2:TaxKeywordTaxHTField" minOccurs="0"/>
                <xsd:element ref="ns2:m6c7b4717b6346e6a075a59dd47eac69" minOccurs="0"/>
                <xsd:element ref="ns2:ConfidentialityTaxHTField0" minOccurs="0"/>
                <xsd:element ref="ns2:b4224c12c78d42ea9b214de0badf8358" minOccurs="0"/>
                <xsd:element ref="ns2:_dlc_DocId" minOccurs="0"/>
                <xsd:element ref="ns2:Coowner" minOccurs="0"/>
                <xsd:element ref="ns2:FolderExtensions" minOccurs="0"/>
                <xsd:element ref="ns2:ParentID1" minOccurs="0"/>
                <xsd:element ref="ns2:GenericText2" minOccurs="0"/>
                <xsd:element ref="ns2:GenericHTML1" minOccurs="0"/>
                <xsd:element ref="ns4:MediaServiceDateTaken" minOccurs="0"/>
                <xsd:element ref="ns4:MediaServiceAutoTags" minOccurs="0"/>
                <xsd:element ref="ns5:Update_x0020_Parent_x0020_Child_x0020_Relation_x0020_for_x0020_KCDOCs2" minOccurs="0"/>
                <xsd:element ref="ns2:_dlc_DocIdUrl" minOccurs="0"/>
                <xsd:element ref="ns1:_dlc_Exempt" minOccurs="0"/>
                <xsd:element ref="ns1:_dlc_ExpireDateSaved" minOccurs="0"/>
                <xsd:element ref="ns1:_dlc_ExpireDate" minOccurs="0"/>
                <xsd:element ref="ns5:MediaServiceOCR" minOccurs="0"/>
                <xsd:element ref="ns5:MediaServiceEventHashCode" minOccurs="0"/>
                <xsd:element ref="ns5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outingRuleDescription" ma:index="2" nillable="true" ma:displayName="Description" ma:description="" ma:hidden="true" ma:internalName="RoutingRuleDescription" ma:readOnly="false">
      <xsd:simpleType>
        <xsd:restriction base="dms:Text">
          <xsd:maxLength value="255"/>
        </xsd:restriction>
      </xsd:simpleType>
    </xsd:element>
    <xsd:element name="PublishingPageContent" ma:index="10" nillable="true" ma:displayName="Page Content" ma:description="Page Content is a site column created by the Publishing feature. It is used on the Article Page Content Type as the content of the page." ma:internalName="PublishingPageContent">
      <xsd:simpleType>
        <xsd:restriction base="dms:Unknown"/>
      </xsd:simpleType>
    </xsd:element>
    <xsd:element name="AverageRating" ma:index="14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PublishingExpirationDate" ma:index="18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  <xsd:element name="ReportOwner" ma:index="38" nillable="true" ma:displayName="Owner (People and Groups)" ma:description="Owner of this document" ma:hidden="true" ma:list="UserInfo" ma:SearchPeopleOnly="false" ma:SharePointGroup="0" ma:internalName="Report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dlc_Exempt" ma:index="76" nillable="true" ma:displayName="Exempt from Policy" ma:description="" ma:hidden="true" ma:internalName="_dlc_Exempt" ma:readOnly="true">
      <xsd:simpleType>
        <xsd:restriction base="dms:Unknown"/>
      </xsd:simpleType>
    </xsd:element>
    <xsd:element name="_dlc_ExpireDateSaved" ma:index="77" nillable="true" ma:displayName="Original Expiration Date" ma:description="" ma:hidden="true" ma:internalName="_dlc_ExpireDateSaved" ma:readOnly="true">
      <xsd:simpleType>
        <xsd:restriction base="dms:DateTime"/>
      </xsd:simpleType>
    </xsd:element>
    <xsd:element name="_dlc_ExpireDate" ma:index="78" nillable="true" ma:displayName="Expiration Date" ma:description="" ma:hidden="true" ma:indexed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3" nillable="true" ma:displayName="Document Description" ma:description="Alternate description for documents that can be used for display." ma:internalName="DocumentDescription">
      <xsd:simpleType>
        <xsd:restriction base="dms:Note">
          <xsd:maxLength value="255"/>
        </xsd:restriction>
      </xsd:simpleType>
    </xsd:element>
    <xsd:element name="Owner" ma:index="4" nillable="true" ma:displayName="Owner" ma:list="UserInfo" ma:SharePointGroup="0" ma:internalName="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6" nillable="true" ma:displayName="Expiration" ma:format="DateOnly" ma:internalName="Expire_x0020_Review" ma:readOnly="false">
      <xsd:simpleType>
        <xsd:restriction base="dms:DateTime"/>
      </xsd:simpleType>
    </xsd:element>
    <xsd:element name="Thumbnail1" ma:index="11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ContentID" ma:index="20" nillable="true" ma:displayName="ContentID" ma:indexed="true" ma:internalName="ContentID" ma:readOnly="false">
      <xsd:simpleType>
        <xsd:restriction base="dms:Text">
          <xsd:maxLength value="255"/>
        </xsd:restriction>
      </xsd:simpleType>
    </xsd:element>
    <xsd:element name="Blog_x0020_Name" ma:index="21" nillable="true" ma:displayName="Blog Name" ma:description="Title of an Infopedia Blog" ma:internalName="Blog_x0020_Name">
      <xsd:simpleType>
        <xsd:restriction base="dms:Text">
          <xsd:maxLength value="255"/>
        </xsd:restriction>
      </xsd:simpleType>
    </xsd:element>
    <xsd:element name="_dlc_DocIdPersistId" ma:index="36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eb54ac91059940029a3cc8a4ff5af673" ma:index="37" nillable="true" ma:taxonomy="true" ma:internalName="eb54ac91059940029a3cc8a4ff5af673" ma:taxonomyFieldName="SMSGDomain" ma:displayName="SMSG Domain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bf80e81150e248c48aa8cffdf0021a1f" ma:index="39" nillable="true" ma:taxonomy="true" ma:internalName="bf80e81150e248c48aa8cffdf0021a1f" ma:taxonomyFieldName="Products" ma:displayName="SMSG Products &amp; Technologies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od9986d31974458fb3007746ec0bce5f" ma:index="40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k21a64daf20d4502b2796a1c6b8ce6c8" ma:index="41" nillable="true" ma:taxonomy="true" ma:internalName="k21a64daf20d4502b2796a1c6b8ce6c8" ma:taxonomyFieldName="Industries" ma:displayName="SMSG Industries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ef109fd36bcf4bcd9dd945731030600b" ma:index="43" nillable="true" ma:taxonomy="true" ma:internalName="ef109fd36bcf4bcd9dd945731030600b" ma:taxonomyFieldName="Region" ma:displayName="SMSG Region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hd9637eefc984b85b6097c6374e15725" ma:index="44" nillable="true" ma:taxonomy="true" ma:internalName="hd9637eefc984b85b6097c6374e15725" ma:taxonomyFieldName="ItemType" ma:displayName="SMSG Item Typ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ga0c0bf70a6644469c61b3efa7025301" ma:index="45" nillable="true" ma:taxonomy="true" ma:internalName="ga0c0bf70a6644469c61b3efa7025301" ma:taxonomyFieldName="ExperienceContentType" ma:displayName="Experience Content Type" ma:default="" ma:fieldId="{0a0c0bf7-0a66-4446-9c61-b3efa7025301}" ma:sspId="e385fb40-52d4-4fae-9c5b-3e8ff8a5878e" ma:termSetId="5ebd4bde-7300-4f6f-8671-0d8e806c9260" ma:anchorId="f79c226e-0a27-41a1-99b5-91ff9ea65615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47" nillable="true" ma:taxonomy="true" ma:internalName="i1b478372f814787abd313030b81fcb2" ma:taxonomyFieldName="ActivitiesAndPrograms" ma:displayName="SMSG Activities &amp; Programs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49" nillable="true" ma:taxonomy="true" ma:internalName="i0d941ee1e744ffea7aeee9924c91cbb" ma:taxonomyFieldName="BusinessArchitecture" ma:displayName="SMSG Business Architectur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50" nillable="true" ma:taxonomy="true" ma:internalName="m6d26e40ac264097a006193f92232ece" ma:taxonomyFieldName="TechnicalLevel" ma:displayName="Technical Level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51" nillable="true" ma:taxonomy="true" ma:internalName="kf34bcdc8fc34e479d3f94c6210e8e27" ma:taxonomyFieldName="Competitors" ma:displayName="SMSG Competition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53" nillable="true" ma:taxonomy="true" ma:internalName="mb88723863e1404388ba3733387d48df" ma:taxonomyFieldName="Audiences" ma:displayName="SMSG Customer Audiences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TaxCatchAll" ma:index="54" nillable="true" ma:displayName="Taxonomy Catch All Column" ma:description="" ma:hidden="true" ma:list="{8e3d5b1f-74bf-4cd5-90f8-860d03c4e4d4}" ma:internalName="TaxCatchAll" ma:showField="CatchAllData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0e0dfa74bf4e44818db03027b0ccd8" ma:index="55" nillable="true" ma:taxonomy="true" ma:internalName="k20e0dfa74bf4e44818db03027b0ccd8" ma:taxonomyFieldName="Segments" ma:displayName="SMSG Customer Segments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57" nillable="true" ma:taxonomy="true" ma:internalName="l3c3ea61849e4288a8acc49bb5388e8c" ma:taxonomyFieldName="Groups" ma:displayName="SMSG Groups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ec5b2ad5c27b45fb8a00a1f27c7ce1ae" ma:index="59" nillable="true" ma:taxonomy="true" ma:internalName="ec5b2ad5c27b45fb8a00a1f27c7ce1ae" ma:taxonomyFieldName="Partners" ma:displayName="SMSG Partners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TaxCatchAllLabel" ma:index="60" nillable="true" ma:displayName="Taxonomy Catch All Column1" ma:description="" ma:hidden="true" ma:list="{8e3d5b1f-74bf-4cd5-90f8-860d03c4e4d4}" ma:internalName="TaxCatchAllLabel" ma:readOnly="true" ma:showField="CatchAllDataLabel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60f8d2dbb984f349d80d8196897f4d3" ma:index="61" nillable="true" ma:taxonomy="true" ma:internalName="b60f8d2dbb984f349d80d8196897f4d3" ma:taxonomyFieldName="Roles" ma:displayName="SMSG Roles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TaxKeywordTaxHTField" ma:index="62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m6c7b4717b6346e6a075a59dd47eac69" ma:index="63" nillable="true" ma:taxonomy="true" ma:internalName="m6c7b4717b6346e6a075a59dd47eac69" ma:taxonomyFieldName="Topics" ma:displayName="SMSG Topics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64" ma:taxonomy="true" ma:internalName="ConfidentialityTaxHTField0" ma:taxonomyFieldName="Confidentiality" ma:displayName="Maximum Reach" ma:default="5;#internal users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224c12c78d42ea9b214de0badf8358" ma:index="65" nillable="true" ma:taxonomy="true" ma:internalName="b4224c12c78d42ea9b214de0badf8358" ma:taxonomyFieldName="EnterpriseDomainTags" ma:displayName="EnterpriseDomainTags" ma:default="" ma:fieldId="{b4224c12-c78d-42ea-9b21-4de0badf835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66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Coowner" ma:index="67" nillable="true" ma:displayName="Co-owner" ma:list="UserInfo" ma:SearchPeopleOnly="false" ma:SharePointGroup="0" ma:internalName="Coowner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FolderExtensions" ma:index="68" nillable="true" ma:displayName="Folder Extensions" ma:description="On-DocSet sub folder to support inactive documents views." ma:internalName="FolderExtensions">
      <xsd:simpleType>
        <xsd:restriction base="dms:Unknown"/>
      </xsd:simpleType>
    </xsd:element>
    <xsd:element name="ParentID1" ma:index="69" nillable="true" ma:displayName="ParentID" ma:description="Used to maintain the parent-child relationship within Document Set and Documents" ma:indexed="true" ma:internalName="ParentID1">
      <xsd:simpleType>
        <xsd:restriction base="dms:Text">
          <xsd:maxLength value="255"/>
        </xsd:restriction>
      </xsd:simpleType>
    </xsd:element>
    <xsd:element name="GenericText2" ma:index="70" nillable="true" ma:displayName="GenericText2" ma:description="Generic field for future features in implementation" ma:indexed="true" ma:internalName="GenericText2">
      <xsd:simpleType>
        <xsd:restriction base="dms:Text">
          <xsd:maxLength value="255"/>
        </xsd:restriction>
      </xsd:simpleType>
    </xsd:element>
    <xsd:element name="GenericHTML1" ma:index="71" nillable="true" ma:displayName="GenericHTML1" ma:description="Generic field for future features in implementation" ma:internalName="GenericHTML1">
      <xsd:simpleType>
        <xsd:restriction base="dms:Unknown"/>
      </xsd:simpleType>
    </xsd:element>
    <xsd:element name="_dlc_DocIdUrl" ma:index="7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PublishDate" ma:index="5" nillable="true" ma:displayName="PublishDate" ma:description="Used in Blog Posts, this date is used to specify the Blog Article Date." ma:format="DateOnly" ma:internalName="PublishDate">
      <xsd:simpleType>
        <xsd:restriction base="dms:DateTime"/>
      </xsd:simpleType>
    </xsd:element>
    <xsd:element name="ApplyWorkflowRules" ma:index="19" nillable="true" ma:displayName="ApplyWorkflowRules" ma:default="Yes" ma:description="This columns is used to help to apply the workflow rules on Document Sets / Documents. by Default the Value is Yes" ma:format="Dropdown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bc04a5-d503-43b1-b98c-a8cf663329d9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7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73" nillable="true" ma:displayName="MediaServiceAutoTags" ma:description="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7e1a94-f886-43f0-af7a-031cdfff3ff3" elementFormDefault="qualified">
    <xsd:import namespace="http://schemas.microsoft.com/office/2006/documentManagement/types"/>
    <xsd:import namespace="http://schemas.microsoft.com/office/infopath/2007/PartnerControls"/>
    <xsd:element name="Update_x0020_Parent_x0020_Child_x0020_Relation_x0020_for_x0020_KCDOCs2" ma:index="74" nillable="true" ma:displayName="Update Parent Child Relation for KCDOCs2" ma:internalName="Update_x0020_Parent_x0020_Child_x0020_Relation_x0020_for_x0020_KCDOCs2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OCR" ma:index="8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8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8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0F4F16-939D-4838-9E15-BAE226F757F6}">
  <ds:schemaRefs>
    <ds:schemaRef ds:uri="http://schemas.microsoft.com/office/2006/metadata/properties"/>
    <ds:schemaRef ds:uri="1c7e1a94-f886-43f0-af7a-031cdfff3ff3"/>
    <ds:schemaRef ds:uri="http://schemas.microsoft.com/office/2006/documentManagement/types"/>
    <ds:schemaRef ds:uri="http://schemas.microsoft.com/sharepoint/v3"/>
    <ds:schemaRef ds:uri="230E9DF3-BE65-4C73-A93B-D1236EBD677E"/>
    <ds:schemaRef ds:uri="http://purl.org/dc/terms/"/>
    <ds:schemaRef ds:uri="230e9df3-be65-4c73-a93b-d1236ebd677e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b3bc04a5-d503-43b1-b98c-a8cf663329d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B1549F1-DE0F-467F-A245-E8DCE80EEEE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B653A3-9A84-4CEC-B340-17E1497AEE5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A561F2C3-A223-4B84-B2AF-DCE7590B694D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EF4E0D61-48E2-4922-A8AC-EB6894C2E1DE}">
  <ds:schemaRefs>
    <ds:schemaRef ds:uri="Microsoft.SharePoint.Taxonomy.ContentTypeSync"/>
  </ds:schemaRefs>
</ds:datastoreItem>
</file>

<file path=customXml/itemProps6.xml><?xml version="1.0" encoding="utf-8"?>
<ds:datastoreItem xmlns:ds="http://schemas.openxmlformats.org/officeDocument/2006/customXml" ds:itemID="{E59976CF-50F4-4443-9C41-A9FC19ACFE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230E9DF3-BE65-4C73-A93B-D1236EBD677E"/>
    <ds:schemaRef ds:uri="b3bc04a5-d503-43b1-b98c-a8cf663329d9"/>
    <ds:schemaRef ds:uri="1c7e1a94-f886-43f0-af7a-031cdfff3f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37</TotalTime>
  <Words>1841</Words>
  <Application>Microsoft Office PowerPoint</Application>
  <PresentationFormat>Widescreen</PresentationFormat>
  <Paragraphs>408</Paragraphs>
  <Slides>28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8" baseType="lpstr">
      <vt:lpstr>ＭＳ Ｐゴシック</vt:lpstr>
      <vt:lpstr>Arial</vt:lpstr>
      <vt:lpstr>Arial Black</vt:lpstr>
      <vt:lpstr>Calibri</vt:lpstr>
      <vt:lpstr>Calibri Light</vt:lpstr>
      <vt:lpstr>Consolas</vt:lpstr>
      <vt:lpstr>Mangal</vt:lpstr>
      <vt:lpstr>Segoe UI</vt:lpstr>
      <vt:lpstr>Segoe UI Light</vt:lpstr>
      <vt:lpstr>Segoe UI Semibold</vt:lpstr>
      <vt:lpstr>Segoe UI Semilight</vt:lpstr>
      <vt:lpstr>Source Sans Pro</vt:lpstr>
      <vt:lpstr>Source Sans Pro Light</vt:lpstr>
      <vt:lpstr>Source Sans Pro SemiBold</vt:lpstr>
      <vt:lpstr>Wingdings</vt:lpstr>
      <vt:lpstr>MGXFY15</vt:lpstr>
      <vt:lpstr>EBC_2017</vt:lpstr>
      <vt:lpstr>IoT</vt:lpstr>
      <vt:lpstr>2_ML</vt:lpstr>
      <vt:lpstr>think-cell Slide</vt:lpstr>
      <vt:lpstr>PowerPoint Presentation</vt:lpstr>
      <vt:lpstr>Azure Databricks</vt:lpstr>
      <vt:lpstr>PowerPoint Presentation</vt:lpstr>
      <vt:lpstr>Agenda</vt:lpstr>
      <vt:lpstr>PowerPoint Presentation</vt:lpstr>
      <vt:lpstr>Apache Spark</vt:lpstr>
      <vt:lpstr>Apache Spark MLlib </vt:lpstr>
      <vt:lpstr>Machine Learning Model </vt:lpstr>
      <vt:lpstr>Modeling Data Science Process</vt:lpstr>
      <vt:lpstr>Hidden Technical Debt in ML System</vt:lpstr>
      <vt:lpstr>Challenges with Productionizing a Model</vt:lpstr>
      <vt:lpstr>Why do we need Robust Model Deployment System</vt:lpstr>
      <vt:lpstr>Different environments where Model gets deployed</vt:lpstr>
      <vt:lpstr>Bring Agile to this process</vt:lpstr>
      <vt:lpstr>Different environments where Model gets deployed</vt:lpstr>
      <vt:lpstr>Ideal Scoring Environment</vt:lpstr>
      <vt:lpstr>Online Learning and Open/Closed Loop</vt:lpstr>
      <vt:lpstr>Model Scoring use cases </vt:lpstr>
      <vt:lpstr>Architecture Options – Model Scoring</vt:lpstr>
      <vt:lpstr>Architecture Sample 1 – eCommerce App</vt:lpstr>
      <vt:lpstr>Architecture Sample 2 – eCommerce App</vt:lpstr>
      <vt:lpstr>Architecture Sample 3 – Focus of the topic</vt:lpstr>
      <vt:lpstr>Azure Databricks – ML Model Export</vt:lpstr>
      <vt:lpstr>Azure Databricks Model Deployment Life Cycle  </vt:lpstr>
      <vt:lpstr>Azure Databricks Model Deployment Options</vt:lpstr>
      <vt:lpstr>Mleap Components</vt:lpstr>
      <vt:lpstr>What are these customers looking to do next?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ting Custom AI Solutions with Azure Databricks</dc:title>
  <dc:creator>Manjunath Suryanarayana Sastry</dc:creator>
  <cp:lastModifiedBy>Manjunath Suryanarayana Sastry</cp:lastModifiedBy>
  <cp:revision>35</cp:revision>
  <dcterms:created xsi:type="dcterms:W3CDTF">2018-05-16T16:52:15Z</dcterms:created>
  <dcterms:modified xsi:type="dcterms:W3CDTF">2018-10-22T16:3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nishanth@microsoft.com</vt:lpwstr>
  </property>
  <property fmtid="{D5CDD505-2E9C-101B-9397-08002B2CF9AE}" pid="5" name="MSIP_Label_f42aa342-8706-4288-bd11-ebb85995028c_SetDate">
    <vt:lpwstr>2018-05-16T18:01:06.7049817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0E4CB7077FEE4FF7AE86D4A500EEC780030016C849C62B10EB41ACA8C7EEDEF40BB2006A83F15B98C1FD4E8D76F6993277120D</vt:lpwstr>
  </property>
  <property fmtid="{D5CDD505-2E9C-101B-9397-08002B2CF9AE}" pid="11" name="_dlc_policyId">
    <vt:lpwstr>0x0101000E4CB7077FEE4FF7AE86D4A500EEC780030016C849C62B10EB41ACA8C7EEDEF40BB2006A83F15B98C1FD4E8D76F6993277120D|-2104630519</vt:lpwstr>
  </property>
  <property fmtid="{D5CDD505-2E9C-101B-9397-08002B2CF9AE}" pid="12" name="ItemRetentionFormula">
    <vt:lpwstr>&lt;formula id="Microsoft.Office.RecordsManagement.PolicyFeatures.Expiration.Formula.BuiltIn"&gt;&lt;number&gt;0&lt;/number&gt;&lt;property&gt;Expire_x005f_x0020_Review&lt;/property&gt;&lt;propertyId&gt;4efb7b69-53dd-4711-a372-96a7c80c7a38&lt;/propertyId&gt;&lt;period&gt;days&lt;/period&gt;&lt;/formula&gt;</vt:lpwstr>
  </property>
  <property fmtid="{D5CDD505-2E9C-101B-9397-08002B2CF9AE}" pid="13" name="_dlc_DocIdItemGuid">
    <vt:lpwstr>3bfa04c4-c2d6-4936-b7a8-1c1dc87fd33a</vt:lpwstr>
  </property>
  <property fmtid="{D5CDD505-2E9C-101B-9397-08002B2CF9AE}" pid="14" name="TaxKeyword">
    <vt:lpwstr/>
  </property>
  <property fmtid="{D5CDD505-2E9C-101B-9397-08002B2CF9AE}" pid="15" name="Region">
    <vt:lpwstr/>
  </property>
  <property fmtid="{D5CDD505-2E9C-101B-9397-08002B2CF9AE}" pid="16" name="Confidentiality">
    <vt:lpwstr>5;#internal users|461efa83-0283-486a-a8d5-943328f3693f</vt:lpwstr>
  </property>
  <property fmtid="{D5CDD505-2E9C-101B-9397-08002B2CF9AE}" pid="17" name="ItemType">
    <vt:lpwstr>35;#training materials|806588bc-f86d-4a67-aeb8-7206d3434c40</vt:lpwstr>
  </property>
  <property fmtid="{D5CDD505-2E9C-101B-9397-08002B2CF9AE}" pid="18" name="Industries">
    <vt:lpwstr/>
  </property>
  <property fmtid="{D5CDD505-2E9C-101B-9397-08002B2CF9AE}" pid="19" name="Competitors">
    <vt:lpwstr/>
  </property>
  <property fmtid="{D5CDD505-2E9C-101B-9397-08002B2CF9AE}" pid="20" name="ExperienceContentType">
    <vt:lpwstr/>
  </property>
  <property fmtid="{D5CDD505-2E9C-101B-9397-08002B2CF9AE}" pid="21" name="SMSGDomain">
    <vt:lpwstr>21;#Cloud and Enterprise|adc2fe87-c79a-4ded-a449-3f86b954069d;#36;#Worldwide Readiness|c6595b84-b463-470a-bb46-2a47364645be</vt:lpwstr>
  </property>
  <property fmtid="{D5CDD505-2E9C-101B-9397-08002B2CF9AE}" pid="22" name="BusinessArchitecture">
    <vt:lpwstr>2559;#artificial intelligence|11fa0c26-d93f-4fa8-9b81-cf60b8e62d0c;#374;#machine learning|912b89bd-3197-4d37-838b-dea3c299099a;#2325;#Data and AI|60d86926-9fc6-4873-ad19-e15bf82160d7</vt:lpwstr>
  </property>
  <property fmtid="{D5CDD505-2E9C-101B-9397-08002B2CF9AE}" pid="23" name="Products">
    <vt:lpwstr/>
  </property>
  <property fmtid="{D5CDD505-2E9C-101B-9397-08002B2CF9AE}" pid="24" name="EnterpriseDomainTags">
    <vt:lpwstr/>
  </property>
  <property fmtid="{D5CDD505-2E9C-101B-9397-08002B2CF9AE}" pid="25" name="ActivitiesAndPrograms">
    <vt:lpwstr>2236;#Intelligent Cloud|657064bb-35a2-46dd-babb-ff4e84e62f8c</vt:lpwstr>
  </property>
  <property fmtid="{D5CDD505-2E9C-101B-9397-08002B2CF9AE}" pid="26" name="Partners">
    <vt:lpwstr/>
  </property>
  <property fmtid="{D5CDD505-2E9C-101B-9397-08002B2CF9AE}" pid="27" name="Segments">
    <vt:lpwstr>2182;#Artificial Intelligence and Research Group|bc53c690-bfc4-4b06-b08b-99b2bf5a2a45</vt:lpwstr>
  </property>
  <property fmtid="{D5CDD505-2E9C-101B-9397-08002B2CF9AE}" pid="28" name="Topics">
    <vt:lpwstr>342;#Azure platform|df6aaec2-d07c-4319-b510-15a691aea35b;#29;#features|94b87768-f145-4764-adbd-fec700e47348;#222;#readiness|0bad9107-5243-4424-8599-de9537dda9af</vt:lpwstr>
  </property>
  <property fmtid="{D5CDD505-2E9C-101B-9397-08002B2CF9AE}" pid="29" name="Groups">
    <vt:lpwstr>34;#Worldwide Readiness|c6595b84-b463-470a-bb46-2a47364645be;#31;#Microsoft Azure Marketing|0958c357-5252-473f-8b4e-42f27525a99d</vt:lpwstr>
  </property>
  <property fmtid="{D5CDD505-2E9C-101B-9397-08002B2CF9AE}" pid="30" name="Languages">
    <vt:lpwstr/>
  </property>
  <property fmtid="{D5CDD505-2E9C-101B-9397-08002B2CF9AE}" pid="31" name="TechnicalLevel">
    <vt:lpwstr/>
  </property>
  <property fmtid="{D5CDD505-2E9C-101B-9397-08002B2CF9AE}" pid="32" name="Audiences">
    <vt:lpwstr/>
  </property>
  <property fmtid="{D5CDD505-2E9C-101B-9397-08002B2CF9AE}" pid="33" name="Roles">
    <vt:lpwstr/>
  </property>
  <property fmtid="{D5CDD505-2E9C-101B-9397-08002B2CF9AE}" pid="34" name="_docset_NoMedatataSyncRequired">
    <vt:lpwstr>False</vt:lpwstr>
  </property>
  <property fmtid="{D5CDD505-2E9C-101B-9397-08002B2CF9AE}" pid="35" name="of67e5d4b76f4a9db8769983fda9cec0">
    <vt:lpwstr/>
  </property>
  <property fmtid="{D5CDD505-2E9C-101B-9397-08002B2CF9AE}" pid="36" name="NewsType">
    <vt:lpwstr/>
  </property>
  <property fmtid="{D5CDD505-2E9C-101B-9397-08002B2CF9AE}" pid="37" name="MSProducts">
    <vt:lpwstr/>
  </property>
  <property fmtid="{D5CDD505-2E9C-101B-9397-08002B2CF9AE}" pid="38" name="l6f004f21209409da86a713c0f24627d">
    <vt:lpwstr/>
  </property>
  <property fmtid="{D5CDD505-2E9C-101B-9397-08002B2CF9AE}" pid="39" name="MSProductsTaxHTField0">
    <vt:lpwstr/>
  </property>
  <property fmtid="{D5CDD505-2E9C-101B-9397-08002B2CF9AE}" pid="40" name="e8080b0481964c759b2c36ae49591b31">
    <vt:lpwstr/>
  </property>
  <property fmtid="{D5CDD505-2E9C-101B-9397-08002B2CF9AE}" pid="41" name="ldac8aee9d1f469e8cd8c3f8d6a615f2">
    <vt:lpwstr/>
  </property>
  <property fmtid="{D5CDD505-2E9C-101B-9397-08002B2CF9AE}" pid="42" name="EmployeeRole">
    <vt:lpwstr/>
  </property>
  <property fmtid="{D5CDD505-2E9C-101B-9397-08002B2CF9AE}" pid="43" name="NewsTopic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MSPhysicalGeography">
    <vt:lpwstr/>
  </property>
  <property fmtid="{D5CDD505-2E9C-101B-9397-08002B2CF9AE}" pid="47" name="j3562c58ee414e028925bc902cfc01a1">
    <vt:lpwstr/>
  </property>
  <property fmtid="{D5CDD505-2E9C-101B-9397-08002B2CF9AE}" pid="48" name="la4444b61d19467597d63190b69ac227">
    <vt:lpwstr/>
  </property>
  <property fmtid="{D5CDD505-2E9C-101B-9397-08002B2CF9AE}" pid="49" name="Update Expiration Date For Docset2">
    <vt:lpwstr>, </vt:lpwstr>
  </property>
  <property fmtid="{D5CDD505-2E9C-101B-9397-08002B2CF9AE}" pid="50" name="LastSharedByUser">
    <vt:lpwstr>livanspr@microsoft.com</vt:lpwstr>
  </property>
  <property fmtid="{D5CDD505-2E9C-101B-9397-08002B2CF9AE}" pid="51" name="LastSharedByTime">
    <vt:filetime>2018-07-01T16:36:38Z</vt:filetime>
  </property>
  <property fmtid="{D5CDD505-2E9C-101B-9397-08002B2CF9AE}" pid="52" name="SharedWithUsers">
    <vt:lpwstr>22205;#Joris Valkonet</vt:lpwstr>
  </property>
</Properties>
</file>